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Lst>
  <p:notesMasterIdLst>
    <p:notesMasterId r:id="rId26"/>
  </p:notesMasterIdLst>
  <p:sldIdLst>
    <p:sldId id="698" r:id="rId4"/>
    <p:sldId id="870" r:id="rId5"/>
    <p:sldId id="5146" r:id="rId6"/>
    <p:sldId id="5152" r:id="rId7"/>
    <p:sldId id="5129" r:id="rId8"/>
    <p:sldId id="5145" r:id="rId9"/>
    <p:sldId id="257" r:id="rId10"/>
    <p:sldId id="5153" r:id="rId11"/>
    <p:sldId id="5158" r:id="rId12"/>
    <p:sldId id="5155" r:id="rId13"/>
    <p:sldId id="5130" r:id="rId14"/>
    <p:sldId id="5131" r:id="rId15"/>
    <p:sldId id="5156" r:id="rId16"/>
    <p:sldId id="5134" r:id="rId17"/>
    <p:sldId id="5141" r:id="rId18"/>
    <p:sldId id="5133" r:id="rId19"/>
    <p:sldId id="5135" r:id="rId20"/>
    <p:sldId id="5157" r:id="rId21"/>
    <p:sldId id="5136" r:id="rId22"/>
    <p:sldId id="5143" r:id="rId23"/>
    <p:sldId id="5137" r:id="rId24"/>
    <p:sldId id="5144"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lby A. Wilkason" initials="CAW" lastIdx="4" clrIdx="0">
    <p:extLst>
      <p:ext uri="{19B8F6BF-5375-455C-9EA6-DF929625EA0E}">
        <p15:presenceInfo xmlns:p15="http://schemas.microsoft.com/office/powerpoint/2012/main" userId="S::cwilkason@resolvetosavelives.org::3619adc8-0004-4a33-90b2-c8c3c93b60d2" providerId="AD"/>
      </p:ext>
    </p:extLst>
  </p:cmAuthor>
  <p:cmAuthor id="2" name="Robert Rosenbaum" initials="RR" lastIdx="3" clrIdx="1">
    <p:extLst>
      <p:ext uri="{19B8F6BF-5375-455C-9EA6-DF929625EA0E}">
        <p15:presenceInfo xmlns:p15="http://schemas.microsoft.com/office/powerpoint/2012/main" userId="S::rrosenbaum@resolvetosavelives.org::34308914-aa0a-4928-a8f9-263514df2152" providerId="AD"/>
      </p:ext>
    </p:extLst>
  </p:cmAuthor>
  <p:cmAuthor id="3" name="Kathryn Walsh" initials="KNW" lastIdx="2" clrIdx="2">
    <p:extLst>
      <p:ext uri="{19B8F6BF-5375-455C-9EA6-DF929625EA0E}">
        <p15:presenceInfo xmlns:p15="http://schemas.microsoft.com/office/powerpoint/2012/main" userId="Kathryn Walsh" providerId="None"/>
      </p:ext>
    </p:extLst>
  </p:cmAuthor>
  <p:cmAuthor id="4" name="Breanna van Loenen" initials="BvL" lastIdx="4" clrIdx="3">
    <p:extLst>
      <p:ext uri="{19B8F6BF-5375-455C-9EA6-DF929625EA0E}">
        <p15:presenceInfo xmlns:p15="http://schemas.microsoft.com/office/powerpoint/2012/main" userId="S::bloenen@resolvetosavelives.org::d183c2de-e75b-4bd3-bb36-20604287d3a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CDDCB78-4C9B-4C98-A401-A8EF0CD2881C}" v="70" dt="2021-03-24T15:05:23.37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4" autoAdjust="0"/>
    <p:restoredTop sz="81224" autoAdjust="0"/>
  </p:normalViewPr>
  <p:slideViewPr>
    <p:cSldViewPr snapToGrid="0">
      <p:cViewPr varScale="1">
        <p:scale>
          <a:sx n="70" d="100"/>
          <a:sy n="70" d="100"/>
        </p:scale>
        <p:origin x="1166" y="43"/>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microsoft.com/office/2015/10/relationships/revisionInfo" Target="revisionInfo.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microsoft.com/office/2016/11/relationships/changesInfo" Target="changesInfos/changesInfo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commentAuthors" Target="commentAuthors.xml"/><Relationship Id="rId30" Type="http://schemas.openxmlformats.org/officeDocument/2006/relationships/theme" Target="theme/theme1.xml"/><Relationship Id="rId8"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 Rosenbaum" userId="azXoNKBxhQPltFYioQYrIfvmbz+7RIwDQUl1lXsM3aU=" providerId="None" clId="Web-{DCDDCB78-4C9B-4C98-A401-A8EF0CD2881C}"/>
    <pc:docChg chg="modSld">
      <pc:chgData name="Robert Rosenbaum" userId="azXoNKBxhQPltFYioQYrIfvmbz+7RIwDQUl1lXsM3aU=" providerId="None" clId="Web-{DCDDCB78-4C9B-4C98-A401-A8EF0CD2881C}" dt="2021-03-24T15:05:23.379" v="34" actId="20577"/>
      <pc:docMkLst>
        <pc:docMk/>
      </pc:docMkLst>
      <pc:sldChg chg="modSp">
        <pc:chgData name="Robert Rosenbaum" userId="azXoNKBxhQPltFYioQYrIfvmbz+7RIwDQUl1lXsM3aU=" providerId="None" clId="Web-{DCDDCB78-4C9B-4C98-A401-A8EF0CD2881C}" dt="2021-03-24T15:05:23.379" v="34" actId="20577"/>
        <pc:sldMkLst>
          <pc:docMk/>
          <pc:sldMk cId="1459660370" sldId="5130"/>
        </pc:sldMkLst>
        <pc:spChg chg="mod">
          <ac:chgData name="Robert Rosenbaum" userId="azXoNKBxhQPltFYioQYrIfvmbz+7RIwDQUl1lXsM3aU=" providerId="None" clId="Web-{DCDDCB78-4C9B-4C98-A401-A8EF0CD2881C}" dt="2021-03-24T15:05:10.332" v="19" actId="20577"/>
          <ac:spMkLst>
            <pc:docMk/>
            <pc:sldMk cId="1459660370" sldId="5130"/>
            <ac:spMk id="22" creationId="{DD6C74D8-2089-4619-BDF8-02BCFE8658F3}"/>
          </ac:spMkLst>
        </pc:spChg>
        <pc:spChg chg="mod">
          <ac:chgData name="Robert Rosenbaum" userId="azXoNKBxhQPltFYioQYrIfvmbz+7RIwDQUl1lXsM3aU=" providerId="None" clId="Web-{DCDDCB78-4C9B-4C98-A401-A8EF0CD2881C}" dt="2021-03-24T15:05:23.379" v="34" actId="20577"/>
          <ac:spMkLst>
            <pc:docMk/>
            <pc:sldMk cId="1459660370" sldId="5130"/>
            <ac:spMk id="23" creationId="{7F836E9A-E358-4E9D-BA96-D3BE7841C65C}"/>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70D944-188D-4616-AE54-A039D13FDDB2}" type="datetimeFigureOut">
              <a:rPr lang="en-US" smtClean="0"/>
              <a:t>3/24/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034920-F045-44EC-A1EF-B288CB92DCF3}" type="slidenum">
              <a:rPr lang="en-US" smtClean="0"/>
              <a:t>‹#›</a:t>
            </a:fld>
            <a:endParaRPr lang="en-US"/>
          </a:p>
        </p:txBody>
      </p:sp>
    </p:spTree>
    <p:extLst>
      <p:ext uri="{BB962C8B-B14F-4D97-AF65-F5344CB8AC3E}">
        <p14:creationId xmlns:p14="http://schemas.microsoft.com/office/powerpoint/2010/main" val="3835339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8" Type="http://schemas.openxmlformats.org/officeDocument/2006/relationships/hyperlink" Target="https://bushchicken.com/nphil-report-all-six-suspected-ebola-cases-tested-negative/" TargetMode="External"/><Relationship Id="rId3" Type="http://schemas.openxmlformats.org/officeDocument/2006/relationships/hyperlink" Target="https://allafrica.com/stories/202012150370.html" TargetMode="External"/><Relationship Id="rId7" Type="http://schemas.openxmlformats.org/officeDocument/2006/relationships/hyperlink" Target="https://apnews.com/article/liberia-julius-maada-bio-health-guinea-ebola-virus-ede99ac43739832a3cf56041868e1cfa"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reliefweb.int/sites/reliefweb.int/files/resources/External%20CIV%20Update%2012%20-%20UNHCR%20RBWCA%20Dakar%20-%204%20Jan%202021.pdf" TargetMode="External"/><Relationship Id="rId5" Type="http://schemas.openxmlformats.org/officeDocument/2006/relationships/hyperlink" Target="https://reliefweb.int/report/liberia/96000-doses-covid-19-vaccine-arrives-liberia" TargetMode="External"/><Relationship Id="rId4" Type="http://schemas.openxmlformats.org/officeDocument/2006/relationships/hyperlink" Target="https://www.newrepublicliberia.com/liberians-defy-covid-19-measures-2/"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88C79A01-BC64-1E46-BB35-A68B5BFFE02F}" type="slidenum">
              <a:rPr lang="en-US" smtClean="0"/>
              <a:pPr/>
              <a:t>1</a:t>
            </a:fld>
            <a:endParaRPr lang="en-US" dirty="0"/>
          </a:p>
        </p:txBody>
      </p:sp>
    </p:spTree>
    <p:extLst>
      <p:ext uri="{BB962C8B-B14F-4D97-AF65-F5344CB8AC3E}">
        <p14:creationId xmlns:p14="http://schemas.microsoft.com/office/powerpoint/2010/main" val="24619188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08459215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995665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8721144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66394626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9584344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42399450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16636812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6653691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5546045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rgbClr val="000000"/>
                </a:solidFill>
                <a:latin typeface="HK Grotesk Medium" panose="00000600000000000000" pitchFamily="2" charset="0"/>
              </a:rPr>
              <a:t>Situational awareness</a:t>
            </a:r>
          </a:p>
          <a:p>
            <a:r>
              <a:rPr lang="en-US" sz="1200" dirty="0">
                <a:solidFill>
                  <a:srgbClr val="000000"/>
                </a:solidFill>
                <a:latin typeface="HK Grotesk Medium" panose="00000600000000000000" pitchFamily="2" charset="0"/>
              </a:rPr>
              <a:t>Do people support and follow measures?</a:t>
            </a:r>
            <a:endParaRPr lang="en-US" sz="1200" b="0" i="0" dirty="0">
              <a:solidFill>
                <a:srgbClr val="000000"/>
              </a:solidFill>
              <a:effectLst/>
              <a:latin typeface="HK Grotesk Medium" panose="00000600000000000000" pitchFamily="2" charset="0"/>
            </a:endParaRPr>
          </a:p>
          <a:p>
            <a:r>
              <a:rPr lang="en-US" sz="1200" dirty="0">
                <a:latin typeface="HK Grotesk Medium" panose="00000600000000000000" pitchFamily="2" charset="0"/>
              </a:rPr>
              <a:t>Whom do people trust?</a:t>
            </a:r>
          </a:p>
          <a:p>
            <a:r>
              <a:rPr lang="en-US" sz="1200" dirty="0">
                <a:latin typeface="HK Grotesk Medium" panose="00000600000000000000" pitchFamily="2" charset="0"/>
              </a:rPr>
              <a:t>How do people understand risk?</a:t>
            </a:r>
          </a:p>
          <a:p>
            <a:r>
              <a:rPr lang="en-US" sz="1200" dirty="0">
                <a:latin typeface="HK Grotesk Medium" panose="00000600000000000000" pitchFamily="2" charset="0"/>
              </a:rPr>
              <a:t>How do people feel about resuming activities?</a:t>
            </a:r>
          </a:p>
          <a:p>
            <a:r>
              <a:rPr lang="en-US" sz="1200" dirty="0">
                <a:latin typeface="HK Grotesk Medium" panose="00000600000000000000" pitchFamily="2" charset="0"/>
              </a:rPr>
              <a:t>What do people think about vaccines?</a:t>
            </a:r>
          </a:p>
          <a:p>
            <a:r>
              <a:rPr lang="en-US" sz="1200" dirty="0">
                <a:latin typeface="HK Grotesk Medium" panose="00000600000000000000" pitchFamily="2" charset="0"/>
              </a:rPr>
              <a:t>Are people skipping or delaying healthcare? </a:t>
            </a:r>
          </a:p>
          <a:p>
            <a:r>
              <a:rPr lang="en-US" sz="1200" dirty="0">
                <a:latin typeface="HK Grotesk Medium" panose="00000600000000000000" pitchFamily="2" charset="0"/>
              </a:rPr>
              <a:t>Are people experiencing income loss?</a:t>
            </a:r>
          </a:p>
          <a:p>
            <a:r>
              <a:rPr lang="en-US" sz="1200" dirty="0">
                <a:latin typeface="HK Grotesk Medium" panose="00000600000000000000" pitchFamily="2" charset="0"/>
              </a:rPr>
              <a:t>Are people experiencing food insecurity?</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3</a:t>
            </a:fld>
            <a:endParaRPr lang="en-US"/>
          </a:p>
        </p:txBody>
      </p:sp>
    </p:spTree>
    <p:extLst>
      <p:ext uri="{BB962C8B-B14F-4D97-AF65-F5344CB8AC3E}">
        <p14:creationId xmlns:p14="http://schemas.microsoft.com/office/powerpoint/2010/main" val="72944998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27408080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4"/>
        <p:cNvGrpSpPr/>
        <p:nvPr/>
      </p:nvGrpSpPr>
      <p:grpSpPr>
        <a:xfrm>
          <a:off x="0" y="0"/>
          <a:ext cx="0" cy="0"/>
          <a:chOff x="0" y="0"/>
          <a:chExt cx="0" cy="0"/>
        </a:xfrm>
      </p:grpSpPr>
      <p:sp>
        <p:nvSpPr>
          <p:cNvPr id="75" name="Google Shape;75;gc83ea04175_0_100: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76" name="Google Shape;76;gc83ea04175_0_100:notes"/>
          <p:cNvSpPr txBox="1">
            <a:spLocks noGrp="1"/>
          </p:cNvSpPr>
          <p:nvPr>
            <p:ph type="body" idx="1"/>
          </p:nvPr>
        </p:nvSpPr>
        <p:spPr>
          <a:xfrm>
            <a:off x="685800" y="4400550"/>
            <a:ext cx="5486400" cy="36006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77" name="Google Shape;77;gc83ea04175_0_100:notes"/>
          <p:cNvSpPr txBox="1">
            <a:spLocks noGrp="1"/>
          </p:cNvSpPr>
          <p:nvPr>
            <p:ph type="sldNum" idx="12"/>
          </p:nvPr>
        </p:nvSpPr>
        <p:spPr>
          <a:xfrm>
            <a:off x="3884613" y="8685213"/>
            <a:ext cx="2971800" cy="4587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None/>
            </a:pPr>
            <a:fld id="{00000000-1234-1234-1234-123412341234}" type="slidenum">
              <a:rPr lang="en"/>
              <a:t>7</a:t>
            </a:fld>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32714666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000000"/>
                </a:solidFill>
                <a:effectLst/>
                <a:latin typeface="GTAmerica"/>
              </a:rPr>
              <a:t>Despite a recent uptick, COVID-19 transmission has remained very low in Liberia since the first wave in June 2020. On 16 December 2020, Liberia reported 95 new cases—its highest single-day total since the start of the pandemic—shortly after nationwide senatorial elections were held with reportedly </a:t>
            </a:r>
            <a:r>
              <a:rPr lang="en-US" b="0" i="0" dirty="0">
                <a:solidFill>
                  <a:srgbClr val="000000"/>
                </a:solidFill>
                <a:effectLst/>
                <a:latin typeface="GTAmerica"/>
                <a:hlinkClick r:id="rId3"/>
              </a:rPr>
              <a:t>little observation</a:t>
            </a:r>
            <a:r>
              <a:rPr lang="en-US" b="0" i="0" dirty="0">
                <a:solidFill>
                  <a:srgbClr val="000000"/>
                </a:solidFill>
                <a:effectLst/>
                <a:latin typeface="GTAmerica"/>
              </a:rPr>
              <a:t> of COVID-19 safety protocols. Cases have since declined, with the 7-day moving average hovering between two and four new cases per day in February. Incidence and test positivity remain low compared to other countries in the Western region. However, the case-fatality ratio in Liberia is the highest in the Western region, which could indicate cases are going undetected, or there may be a lack of access to adequate care. Given the elevated case-fatality ratio the surveillance and testing strategy may need to be adjusted to ensure that all cases are being identified.</a:t>
            </a:r>
          </a:p>
          <a:p>
            <a:pPr algn="l"/>
            <a:r>
              <a:rPr lang="en-US" b="0" i="0" dirty="0">
                <a:solidFill>
                  <a:srgbClr val="000000"/>
                </a:solidFill>
                <a:effectLst/>
                <a:latin typeface="GTAmerica"/>
              </a:rPr>
              <a:t>There have been no new PHSMs implemented in Liberia since April 2020. Multiple </a:t>
            </a:r>
            <a:r>
              <a:rPr lang="en-US" b="0" i="0" dirty="0">
                <a:solidFill>
                  <a:srgbClr val="000000"/>
                </a:solidFill>
                <a:effectLst/>
                <a:latin typeface="GTAmerica"/>
                <a:hlinkClick r:id="rId4"/>
              </a:rPr>
              <a:t>reports</a:t>
            </a:r>
            <a:r>
              <a:rPr lang="en-US" b="0" i="0" dirty="0">
                <a:solidFill>
                  <a:srgbClr val="000000"/>
                </a:solidFill>
                <a:effectLst/>
                <a:latin typeface="GTAmerica"/>
              </a:rPr>
              <a:t> have noted a public disregard for individual protective measures such as mask-wearing and social distancing, which some officials warn may have contributed to the recent increase in cases. </a:t>
            </a:r>
          </a:p>
          <a:p>
            <a:pPr algn="l"/>
            <a:r>
              <a:rPr lang="en-US" b="0" i="0" dirty="0">
                <a:solidFill>
                  <a:srgbClr val="000000"/>
                </a:solidFill>
                <a:effectLst/>
                <a:latin typeface="GTAmerica"/>
              </a:rPr>
              <a:t>Liberia </a:t>
            </a:r>
            <a:r>
              <a:rPr lang="en-US" b="0" i="0" dirty="0">
                <a:solidFill>
                  <a:srgbClr val="000000"/>
                </a:solidFill>
                <a:effectLst/>
                <a:latin typeface="GTAmerica"/>
                <a:hlinkClick r:id="rId5"/>
              </a:rPr>
              <a:t>received</a:t>
            </a:r>
            <a:r>
              <a:rPr lang="en-US" b="0" i="0" dirty="0">
                <a:solidFill>
                  <a:srgbClr val="000000"/>
                </a:solidFill>
                <a:effectLst/>
                <a:latin typeface="GTAmerica"/>
              </a:rPr>
              <a:t> 96,000 doses of the AstraZeneca vaccine from the World Health Organization’s (WHO) COVAX facility in March and will begin priority administration to health care workers.</a:t>
            </a:r>
          </a:p>
          <a:p>
            <a:pPr algn="l"/>
            <a:r>
              <a:rPr lang="en-US" b="0" i="0" dirty="0">
                <a:solidFill>
                  <a:srgbClr val="000000"/>
                </a:solidFill>
                <a:effectLst/>
                <a:latin typeface="GTAmerica"/>
              </a:rPr>
              <a:t>Liberia is </a:t>
            </a:r>
            <a:r>
              <a:rPr lang="en-US" b="0" i="0" dirty="0">
                <a:solidFill>
                  <a:srgbClr val="000000"/>
                </a:solidFill>
                <a:effectLst/>
                <a:latin typeface="GTAmerica"/>
                <a:hlinkClick r:id="rId6"/>
              </a:rPr>
              <a:t>experiencing</a:t>
            </a:r>
            <a:r>
              <a:rPr lang="en-US" b="0" i="0" dirty="0">
                <a:solidFill>
                  <a:srgbClr val="000000"/>
                </a:solidFill>
                <a:effectLst/>
                <a:latin typeface="GTAmerica"/>
              </a:rPr>
              <a:t> an influx of migrants from </a:t>
            </a:r>
            <a:r>
              <a:rPr lang="en-US" b="0" i="0" dirty="0" err="1">
                <a:solidFill>
                  <a:srgbClr val="000000"/>
                </a:solidFill>
                <a:effectLst/>
                <a:latin typeface="GTAmerica"/>
              </a:rPr>
              <a:t>neighbouring</a:t>
            </a:r>
            <a:r>
              <a:rPr lang="en-US" b="0" i="0" dirty="0">
                <a:solidFill>
                  <a:srgbClr val="000000"/>
                </a:solidFill>
                <a:effectLst/>
                <a:latin typeface="GTAmerica"/>
              </a:rPr>
              <a:t> Côte d’Ivoire, where political instability has forced more than 23,000 refugees to flee to Liberia as of January 2021. Cases of Ebola were also identified near the Liberian border in Guinea Conakry; the president </a:t>
            </a:r>
            <a:r>
              <a:rPr lang="en-US" b="0" i="0" dirty="0">
                <a:solidFill>
                  <a:srgbClr val="000000"/>
                </a:solidFill>
                <a:effectLst/>
                <a:latin typeface="GTAmerica"/>
                <a:hlinkClick r:id="rId7"/>
              </a:rPr>
              <a:t>ordered</a:t>
            </a:r>
            <a:r>
              <a:rPr lang="en-US" b="0" i="0" dirty="0">
                <a:solidFill>
                  <a:srgbClr val="000000"/>
                </a:solidFill>
                <a:effectLst/>
                <a:latin typeface="GTAmerica"/>
              </a:rPr>
              <a:t> health authorities to increase surveillance and preventive measures to avoid an outbreak. All suspected cases have so far </a:t>
            </a:r>
            <a:r>
              <a:rPr lang="en-US" b="0" i="0" dirty="0">
                <a:solidFill>
                  <a:srgbClr val="000000"/>
                </a:solidFill>
                <a:effectLst/>
                <a:latin typeface="GTAmerica"/>
                <a:hlinkClick r:id="rId8"/>
              </a:rPr>
              <a:t>tested negative</a:t>
            </a:r>
            <a:r>
              <a:rPr lang="en-US" b="0" i="0" dirty="0">
                <a:solidFill>
                  <a:srgbClr val="000000"/>
                </a:solidFill>
                <a:effectLst/>
                <a:latin typeface="GTAmerica"/>
              </a:rPr>
              <a:t>.</a:t>
            </a:r>
          </a:p>
          <a:p>
            <a:endParaRPr lang="en-US" dirty="0"/>
          </a:p>
        </p:txBody>
      </p:sp>
      <p:sp>
        <p:nvSpPr>
          <p:cNvPr id="4" name="Slide Number Placeholder 3"/>
          <p:cNvSpPr>
            <a:spLocks noGrp="1"/>
          </p:cNvSpPr>
          <p:nvPr>
            <p:ph type="sldNum" sz="quarter" idx="5"/>
          </p:nvPr>
        </p:nvSpPr>
        <p:spPr/>
        <p:txBody>
          <a:bodyPr/>
          <a:lstStyle/>
          <a:p>
            <a:fld id="{9C034920-F045-44EC-A1EF-B288CB92DCF3}" type="slidenum">
              <a:rPr lang="en-US" smtClean="0"/>
              <a:t>9</a:t>
            </a:fld>
            <a:endParaRPr lang="en-US"/>
          </a:p>
        </p:txBody>
      </p:sp>
    </p:spTree>
    <p:extLst>
      <p:ext uri="{BB962C8B-B14F-4D97-AF65-F5344CB8AC3E}">
        <p14:creationId xmlns:p14="http://schemas.microsoft.com/office/powerpoint/2010/main" val="38402305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ING POINTS</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7042900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9376480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8C79A01-BC64-1E46-BB35-A68B5BFFE02F}"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50"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50" charset="0"/>
              <a:ea typeface="+mn-ea"/>
              <a:cs typeface="+mn-cs"/>
            </a:endParaRPr>
          </a:p>
        </p:txBody>
      </p:sp>
    </p:spTree>
    <p:extLst>
      <p:ext uri="{BB962C8B-B14F-4D97-AF65-F5344CB8AC3E}">
        <p14:creationId xmlns:p14="http://schemas.microsoft.com/office/powerpoint/2010/main" val="150478366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115C1B-905B-4EB5-8D2C-98B31AEFD83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7A17945-CC90-450E-8B24-AC4B8E06913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88CF554C-EA5A-46BA-A26F-DB347DC9827A}"/>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EEFCE0DD-6EF2-4568-ABC7-5F87E82F1D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964FE74-8636-41BE-ACFD-FA82E81FEC7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158330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CEC465-A2A8-4E11-847E-E1B40DD1340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664B41F-69C2-4634-AC12-256B12AAE53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8C78DF-F5CB-45B4-AE7B-B24D909914C4}"/>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4F1CEA40-E571-47F5-837F-590D11EE76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088223-0A3A-4CA4-B6B2-2BD7BEFDA19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67824799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4CEDACB-1A25-4097-8EA9-1A9C66F64A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6CC918B-0058-4342-964B-1E65CEE956AE}"/>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609558-60B6-46C1-AB6F-7B95AA71C361}"/>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9CD7B743-EE43-466D-8B62-B053954F970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4835391-EFD7-4D82-9F41-D9FCC4897F2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9646325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a:prstGeom prst="rect">
            <a:avLst/>
          </a:prstGeom>
        </p:spPr>
        <p:txBody>
          <a:bodyPr anchor="b"/>
          <a:lstStyle>
            <a:lvl1pPr algn="ctr">
              <a:defRPr sz="6000"/>
            </a:lvl1pPr>
          </a:lstStyle>
          <a:p>
            <a:r>
              <a:rPr lang="en-GB"/>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6093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64440" y="365127"/>
            <a:ext cx="10515600" cy="1325563"/>
          </a:xfrm>
          <a:prstGeom prst="rect">
            <a:avLst/>
          </a:prstGeom>
        </p:spPr>
        <p:txBody>
          <a:bodyPr>
            <a:normAutofit/>
          </a:bodyPr>
          <a:lstStyle>
            <a:lvl1pPr>
              <a:defRPr sz="3000">
                <a:solidFill>
                  <a:srgbClr val="F4A62D"/>
                </a:solidFill>
              </a:defRPr>
            </a:lvl1pPr>
          </a:lstStyle>
          <a:p>
            <a:r>
              <a:rPr lang="en-GB" dirty="0"/>
              <a:t>Click to edit Master title style</a:t>
            </a:r>
            <a:endParaRPr lang="en-US" dirty="0"/>
          </a:p>
        </p:txBody>
      </p:sp>
      <p:sp>
        <p:nvSpPr>
          <p:cNvPr id="3" name="Content Placeholder 2"/>
          <p:cNvSpPr>
            <a:spLocks noGrp="1"/>
          </p:cNvSpPr>
          <p:nvPr>
            <p:ph idx="1"/>
          </p:nvPr>
        </p:nvSpPr>
        <p:spPr>
          <a:xfrm>
            <a:off x="264440" y="1825625"/>
            <a:ext cx="1108936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2236619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a:prstGeom prst="rect">
            <a:avLst/>
          </a:prstGeom>
        </p:spPr>
        <p:txBody>
          <a:bodyPr anchor="b"/>
          <a:lstStyle>
            <a:lvl1pPr>
              <a:defRPr sz="6000"/>
            </a:lvl1pPr>
          </a:lstStyle>
          <a:p>
            <a:r>
              <a:rPr lang="en-GB"/>
              <a:t>Click to edit Master title style</a:t>
            </a:r>
            <a:endParaRPr lang="en-US" dirty="0"/>
          </a:p>
        </p:txBody>
      </p:sp>
      <p:sp>
        <p:nvSpPr>
          <p:cNvPr id="3" name="Text Placeholder 2"/>
          <p:cNvSpPr>
            <a:spLocks noGrp="1"/>
          </p:cNvSpPr>
          <p:nvPr>
            <p:ph type="body" idx="1"/>
          </p:nvPr>
        </p:nvSpPr>
        <p:spPr>
          <a:xfrm>
            <a:off x="831851" y="4589465"/>
            <a:ext cx="10515600" cy="1500187"/>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238601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147795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GB"/>
              <a:t>Click to edit Master title style</a:t>
            </a:r>
            <a:endParaRPr lang="en-US" dirty="0"/>
          </a:p>
        </p:txBody>
      </p:sp>
      <p:sp>
        <p:nvSpPr>
          <p:cNvPr id="3" name="Text Placeholder 2"/>
          <p:cNvSpPr>
            <a:spLocks noGrp="1"/>
          </p:cNvSpPr>
          <p:nvPr>
            <p:ph type="body" idx="1"/>
          </p:nvPr>
        </p:nvSpPr>
        <p:spPr>
          <a:xfrm>
            <a:off x="839789"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7" name="Date Placeholder 6"/>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8" name="Footer Placeholder 7"/>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9" name="Slide Number Placeholder 8"/>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338464615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Date Placeholder 2"/>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5" name="Slide Number Placeholder 4"/>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52553707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3" name="Footer Placeholder 2"/>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4" name="Slide Number Placeholder 3"/>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75016745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Content Placeholder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981162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DF237-326B-4961-9A6C-1E1C06B08CD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C6F8D8A-A21D-4AD7-A088-E0CF9380AF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B59F3EA-7FF8-46EC-B4D0-CCD4A3E4757A}"/>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97B9E793-AEF2-4778-926E-CA2DD591D6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02248A-C3FA-41AA-B180-0CB82AB6DE4B}"/>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8018171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GB"/>
              <a:t>Click to edit Master title style</a:t>
            </a:r>
            <a:endParaRPr lang="en-US" dirty="0"/>
          </a:p>
        </p:txBody>
      </p:sp>
      <p:sp>
        <p:nvSpPr>
          <p:cNvPr id="3" name="Picture Placeholder 2"/>
          <p:cNvSpPr>
            <a:spLocks noGrp="1" noChangeAspect="1"/>
          </p:cNvSpPr>
          <p:nvPr>
            <p:ph type="pic" idx="1"/>
          </p:nvPr>
        </p:nvSpPr>
        <p:spPr>
          <a:xfrm>
            <a:off x="5183188" y="987427"/>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6" name="Footer Placeholder 5"/>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7" name="Slide Number Placeholder 6"/>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274792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158469" y="365127"/>
            <a:ext cx="10515600" cy="1325563"/>
          </a:xfrm>
          <a:prstGeom prst="rect">
            <a:avLst/>
          </a:prstGeom>
        </p:spPr>
        <p:txBody>
          <a:bodyPr/>
          <a:lstStyle/>
          <a:p>
            <a:r>
              <a:rPr lang="en-GB"/>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1193646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a:prstGeom prst="rect">
            <a:avLst/>
          </a:prstGeom>
        </p:spPr>
        <p:txBody>
          <a:bodyPr vert="eaVert"/>
          <a:lstStyle/>
          <a:p>
            <a:r>
              <a:rPr lang="en-GB"/>
              <a:t>Click to edit Master title style</a:t>
            </a:r>
            <a:endParaRPr lang="en-US" dirty="0"/>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Date Placeholder 3"/>
          <p:cNvSpPr>
            <a:spLocks noGrp="1"/>
          </p:cNvSpPr>
          <p:nvPr>
            <p:ph type="dt" sz="half" idx="10"/>
          </p:nvPr>
        </p:nvSpPr>
        <p:spPr/>
        <p:txBody>
          <a:bodyPr/>
          <a:lstStyle/>
          <a:p>
            <a:fld id="{F1A35A5B-9964-BA45-A1B5-FC54D9B083C3}" type="datetimeFigureOut">
              <a:rPr lang="en-US" smtClean="0"/>
              <a:t>3/24/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lvl1pPr>
              <a:defRPr>
                <a:latin typeface="GT America" panose="00000500000000000000" pitchFamily="50" charset="0"/>
              </a:defRPr>
            </a:lvl1pPr>
          </a:lstStyle>
          <a:p>
            <a:endParaRPr lang="en-US" dirty="0"/>
          </a:p>
        </p:txBody>
      </p:sp>
      <p:sp>
        <p:nvSpPr>
          <p:cNvPr id="6" name="Slide Number Placeholder 5"/>
          <p:cNvSpPr>
            <a:spLocks noGrp="1"/>
          </p:cNvSpPr>
          <p:nvPr>
            <p:ph type="sldNum" sz="quarter" idx="12"/>
          </p:nvPr>
        </p:nvSpPr>
        <p:spPr/>
        <p:txBody>
          <a:bodyPr/>
          <a:lstStyle/>
          <a:p>
            <a:fld id="{53168429-B862-464C-A163-6879E3AA04C9}" type="slidenum">
              <a:rPr lang="en-US" smtClean="0"/>
              <a:t>‹#›</a:t>
            </a:fld>
            <a:endParaRPr lang="en-US" dirty="0"/>
          </a:p>
        </p:txBody>
      </p:sp>
    </p:spTree>
    <p:extLst>
      <p:ext uri="{BB962C8B-B14F-4D97-AF65-F5344CB8AC3E}">
        <p14:creationId xmlns:p14="http://schemas.microsoft.com/office/powerpoint/2010/main" val="22807080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157542721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over 1">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sp>
        <p:nvSpPr>
          <p:cNvPr id="39" name="Forme libre : forme 28">
            <a:extLst>
              <a:ext uri="{FF2B5EF4-FFF2-40B4-BE49-F238E27FC236}">
                <a16:creationId xmlns:a16="http://schemas.microsoft.com/office/drawing/2014/main" id="{25BCA439-CE40-3347-AF44-5EEAF143668B}"/>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sp>
        <p:nvSpPr>
          <p:cNvPr id="40" name="Forme libre : forme 30">
            <a:extLst>
              <a:ext uri="{FF2B5EF4-FFF2-40B4-BE49-F238E27FC236}">
                <a16:creationId xmlns:a16="http://schemas.microsoft.com/office/drawing/2014/main" id="{AE8267D6-E138-8640-BC5D-12118FCF2DF3}"/>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GT America" panose="00000500000000000000" pitchFamily="50" charset="0"/>
            </a:endParaRPr>
          </a:p>
        </p:txBody>
      </p:sp>
      <p:graphicFrame>
        <p:nvGraphicFramePr>
          <p:cNvPr id="5" name="Objet 4" hidden="1">
            <a:extLst>
              <a:ext uri="{FF2B5EF4-FFF2-40B4-BE49-F238E27FC236}">
                <a16:creationId xmlns:a16="http://schemas.microsoft.com/office/drawing/2014/main" id="{E03E893C-6741-453F-AB83-3BF7E47452D4}"/>
              </a:ext>
            </a:extLst>
          </p:cNvPr>
          <p:cNvGraphicFramePr>
            <a:graphicFrameLocks noChangeAspect="1"/>
          </p:cNvGraphicFramePr>
          <p:nvPr>
            <p:custDataLst>
              <p:tags r:id="rId2"/>
            </p:custDataLst>
            <p:extLst>
              <p:ext uri="{D42A27DB-BD31-4B8C-83A1-F6EECF244321}">
                <p14:modId xmlns:p14="http://schemas.microsoft.com/office/powerpoint/2010/main" val="22043757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40"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E03E893C-6741-453F-AB83-3BF7E47452D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4607D74-F512-4FC3-A30B-919D76C6342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cxnSp>
        <p:nvCxnSpPr>
          <p:cNvPr id="17" name="Connecteur droit 16">
            <a:extLst>
              <a:ext uri="{FF2B5EF4-FFF2-40B4-BE49-F238E27FC236}">
                <a16:creationId xmlns:a16="http://schemas.microsoft.com/office/drawing/2014/main" id="{79935D5E-B7ED-4F9D-A894-6B0811A25EEF}"/>
              </a:ext>
            </a:extLst>
          </p:cNvPr>
          <p:cNvCxnSpPr>
            <a:cxnSpLocks/>
          </p:cNvCxnSpPr>
          <p:nvPr/>
        </p:nvCxnSpPr>
        <p:spPr>
          <a:xfrm>
            <a:off x="585787" y="3940302"/>
            <a:ext cx="66396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7200" y="533400"/>
            <a:ext cx="7551997" cy="2475348"/>
          </a:xfrm>
        </p:spPr>
        <p:txBody>
          <a:bodyPr lIns="72000" anchor="t">
            <a:normAutofit/>
          </a:bodyPr>
          <a:lstStyle>
            <a:lvl1pPr algn="l">
              <a:lnSpc>
                <a:spcPct val="80000"/>
              </a:lnSpc>
              <a:defRPr sz="6000" b="1" cap="all" spc="-200" baseline="0">
                <a:solidFill>
                  <a:schemeClr val="bg1"/>
                </a:solidFill>
                <a:latin typeface="Arial Black" panose="020B0A04020102020204" pitchFamily="34" charset="0"/>
              </a:defRPr>
            </a:lvl1pPr>
          </a:lstStyle>
          <a:p>
            <a:r>
              <a:rPr lang="en-GB"/>
              <a:t>TITLE OF THE SLID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7200" y="3008749"/>
            <a:ext cx="7551997" cy="461665"/>
          </a:xfrm>
          <a:prstGeom prst="rect">
            <a:avLst/>
          </a:prstGeom>
        </p:spPr>
        <p:txBody>
          <a:bodyPr wrap="square" lIns="108000" rIns="180000">
            <a:spAutoFit/>
          </a:bodyPr>
          <a:lstStyle>
            <a:lvl1pPr marL="0" indent="0" algn="l">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Subtitle of the presentation</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7200" y="4432445"/>
            <a:ext cx="2486308" cy="215444"/>
          </a:xfrm>
          <a:prstGeom prst="rect">
            <a:avLst/>
          </a:prstGeom>
        </p:spPr>
        <p:txBody>
          <a:bodyPr wrap="square" lIns="108000" tIns="0" rIns="180000" bIns="0">
            <a:spAutoFit/>
          </a:bodyPr>
          <a:lstStyle>
            <a:lvl1pPr>
              <a:defRPr sz="1400">
                <a:solidFill>
                  <a:schemeClr val="bg1"/>
                </a:solidFill>
                <a:latin typeface="GT America" panose="00000500000000000000" pitchFamily="50" charset="0"/>
              </a:defRPr>
            </a:lvl1pPr>
          </a:lstStyle>
          <a:p>
            <a:endParaRPr lang="en-US" dirty="0"/>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7200" y="4021761"/>
            <a:ext cx="2612304" cy="400110"/>
          </a:xfrm>
          <a:prstGeom prst="rect">
            <a:avLst/>
          </a:prstGeom>
        </p:spPr>
        <p:txBody>
          <a:bodyPr wrap="none" lIns="108000">
            <a:spAutoFit/>
          </a:bodyPr>
          <a:lstStyle>
            <a:lvl1pPr marL="0" indent="0">
              <a:buNone/>
              <a:defRPr sz="2000">
                <a:solidFill>
                  <a:schemeClr val="bg1"/>
                </a:solidFill>
                <a:latin typeface="GT America" panose="00000500000000000000" pitchFamily="50"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Name of the speaker</a:t>
            </a:r>
          </a:p>
        </p:txBody>
      </p:sp>
      <p:grpSp>
        <p:nvGrpSpPr>
          <p:cNvPr id="18" name="Group 17">
            <a:extLst>
              <a:ext uri="{FF2B5EF4-FFF2-40B4-BE49-F238E27FC236}">
                <a16:creationId xmlns:a16="http://schemas.microsoft.com/office/drawing/2014/main" id="{65198BDE-F9BF-7A4A-AF8E-0DF77C0590E4}"/>
              </a:ext>
            </a:extLst>
          </p:cNvPr>
          <p:cNvGrpSpPr>
            <a:grpSpLocks noChangeAspect="1"/>
          </p:cNvGrpSpPr>
          <p:nvPr/>
        </p:nvGrpSpPr>
        <p:grpSpPr>
          <a:xfrm>
            <a:off x="10623167" y="5407578"/>
            <a:ext cx="909437" cy="829710"/>
            <a:chOff x="11309880" y="6178130"/>
            <a:chExt cx="490427" cy="447433"/>
          </a:xfrm>
        </p:grpSpPr>
        <p:sp>
          <p:nvSpPr>
            <p:cNvPr id="19" name="Freeform: Shape 6">
              <a:extLst>
                <a:ext uri="{FF2B5EF4-FFF2-40B4-BE49-F238E27FC236}">
                  <a16:creationId xmlns:a16="http://schemas.microsoft.com/office/drawing/2014/main" id="{C13F323B-F01E-D742-B50B-0E350E254AAF}"/>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8">
              <a:extLst>
                <a:ext uri="{FF2B5EF4-FFF2-40B4-BE49-F238E27FC236}">
                  <a16:creationId xmlns:a16="http://schemas.microsoft.com/office/drawing/2014/main" id="{BB45B698-4213-0C44-B23D-F87540138A50}"/>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11">
              <a:extLst>
                <a:ext uri="{FF2B5EF4-FFF2-40B4-BE49-F238E27FC236}">
                  <a16:creationId xmlns:a16="http://schemas.microsoft.com/office/drawing/2014/main" id="{6C55194B-0C30-4549-8D0E-8FD3ED41A112}"/>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12">
              <a:extLst>
                <a:ext uri="{FF2B5EF4-FFF2-40B4-BE49-F238E27FC236}">
                  <a16:creationId xmlns:a16="http://schemas.microsoft.com/office/drawing/2014/main" id="{84EC1030-97DF-9348-9CFF-7201B32748D2}"/>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5" name="Freeform: Shape 13">
              <a:extLst>
                <a:ext uri="{FF2B5EF4-FFF2-40B4-BE49-F238E27FC236}">
                  <a16:creationId xmlns:a16="http://schemas.microsoft.com/office/drawing/2014/main" id="{45902CED-772B-194B-B3DA-948B14AAF7CE}"/>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6" name="Freeform: Shape 14">
              <a:extLst>
                <a:ext uri="{FF2B5EF4-FFF2-40B4-BE49-F238E27FC236}">
                  <a16:creationId xmlns:a16="http://schemas.microsoft.com/office/drawing/2014/main" id="{2CC77B1B-65EF-D740-884D-93ADA4D92AAE}"/>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7" name="Freeform: Shape 15">
              <a:extLst>
                <a:ext uri="{FF2B5EF4-FFF2-40B4-BE49-F238E27FC236}">
                  <a16:creationId xmlns:a16="http://schemas.microsoft.com/office/drawing/2014/main" id="{EBC1DFE1-9EED-7C45-833D-D02E1220ACA3}"/>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28" name="Freeform: Shape 16">
              <a:extLst>
                <a:ext uri="{FF2B5EF4-FFF2-40B4-BE49-F238E27FC236}">
                  <a16:creationId xmlns:a16="http://schemas.microsoft.com/office/drawing/2014/main" id="{C72CD79B-DE52-2E4E-A497-C01A06B3F1BC}"/>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0" name="Freeform: Shape 17">
              <a:extLst>
                <a:ext uri="{FF2B5EF4-FFF2-40B4-BE49-F238E27FC236}">
                  <a16:creationId xmlns:a16="http://schemas.microsoft.com/office/drawing/2014/main" id="{EA269D8F-9FCB-A34F-9EB2-63EF53357ECE}"/>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2" name="Freeform: Shape 18">
              <a:extLst>
                <a:ext uri="{FF2B5EF4-FFF2-40B4-BE49-F238E27FC236}">
                  <a16:creationId xmlns:a16="http://schemas.microsoft.com/office/drawing/2014/main" id="{A3D6FDE5-AC3C-904E-BAB9-24524076B310}"/>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34" name="Freeform: Shape 19">
              <a:extLst>
                <a:ext uri="{FF2B5EF4-FFF2-40B4-BE49-F238E27FC236}">
                  <a16:creationId xmlns:a16="http://schemas.microsoft.com/office/drawing/2014/main" id="{75A42F3E-7B79-6843-9E99-7B1F82D3E590}"/>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5" name="Freeform: Shape 20">
              <a:extLst>
                <a:ext uri="{FF2B5EF4-FFF2-40B4-BE49-F238E27FC236}">
                  <a16:creationId xmlns:a16="http://schemas.microsoft.com/office/drawing/2014/main" id="{5D623381-3A8F-CE45-A9DF-9D1AC3C917AF}"/>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6" name="Freeform: Shape 21">
              <a:extLst>
                <a:ext uri="{FF2B5EF4-FFF2-40B4-BE49-F238E27FC236}">
                  <a16:creationId xmlns:a16="http://schemas.microsoft.com/office/drawing/2014/main" id="{6F67F198-20E9-7C4C-9C5C-53E7DBE59938}"/>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7" name="Freeform: Shape 22">
              <a:extLst>
                <a:ext uri="{FF2B5EF4-FFF2-40B4-BE49-F238E27FC236}">
                  <a16:creationId xmlns:a16="http://schemas.microsoft.com/office/drawing/2014/main" id="{0C92B55B-3E3E-4F4E-ADAE-49959C6D7019}"/>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38" name="Freeform: Shape 23">
              <a:extLst>
                <a:ext uri="{FF2B5EF4-FFF2-40B4-BE49-F238E27FC236}">
                  <a16:creationId xmlns:a16="http://schemas.microsoft.com/office/drawing/2014/main" id="{A9FD1CD0-0B96-7843-B86E-62D6A2E37E5D}"/>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
        <p:nvSpPr>
          <p:cNvPr id="4" name="Picture Placeholder 3">
            <a:extLst>
              <a:ext uri="{FF2B5EF4-FFF2-40B4-BE49-F238E27FC236}">
                <a16:creationId xmlns:a16="http://schemas.microsoft.com/office/drawing/2014/main" id="{41EC0559-5D20-E84C-ABC1-12D8CE443609}"/>
              </a:ext>
            </a:extLst>
          </p:cNvPr>
          <p:cNvSpPr>
            <a:spLocks noGrp="1"/>
          </p:cNvSpPr>
          <p:nvPr>
            <p:ph type="pic" sz="quarter" idx="13" hasCustomPrompt="1"/>
          </p:nvPr>
        </p:nvSpPr>
        <p:spPr>
          <a:xfrm>
            <a:off x="9098280" y="5410198"/>
            <a:ext cx="1285875" cy="832104"/>
          </a:xfrm>
          <a:prstGeom prst="rect">
            <a:avLst/>
          </a:prstGeom>
          <a:solidFill>
            <a:schemeClr val="bg1">
              <a:alpha val="10000"/>
            </a:schemeClr>
          </a:solidFill>
        </p:spPr>
        <p:txBody>
          <a:bodyPr tIns="45720" bIns="0"/>
          <a:lstStyle>
            <a:lvl1pPr marL="4763" indent="-4763" algn="l">
              <a:tabLst/>
              <a:defRPr>
                <a:solidFill>
                  <a:schemeClr val="bg1">
                    <a:lumMod val="85000"/>
                  </a:schemeClr>
                </a:solidFill>
                <a:latin typeface="GT America" panose="00000500000000000000" pitchFamily="50" charset="0"/>
              </a:defRPr>
            </a:lvl1pPr>
          </a:lstStyle>
          <a:p>
            <a:r>
              <a:rPr lang="en-US" dirty="0"/>
              <a:t>Client Logo</a:t>
            </a:r>
          </a:p>
        </p:txBody>
      </p:sp>
    </p:spTree>
    <p:extLst>
      <p:ext uri="{BB962C8B-B14F-4D97-AF65-F5344CB8AC3E}">
        <p14:creationId xmlns:p14="http://schemas.microsoft.com/office/powerpoint/2010/main" val="3120386346"/>
      </p:ext>
    </p:extLst>
  </p:cSld>
  <p:clrMapOvr>
    <a:masterClrMapping/>
  </p:clrMapOvr>
  <p:extLst>
    <p:ext uri="{DCECCB84-F9BA-43D5-87BE-67443E8EF086}">
      <p15:sldGuideLst xmlns:p15="http://schemas.microsoft.com/office/powerpoint/2012/main">
        <p15:guide id="1" orient="horz" pos="336">
          <p15:clr>
            <a:srgbClr val="F26B43"/>
          </p15:clr>
        </p15:guide>
        <p15:guide id="2" orient="horz" pos="1896">
          <p15:clr>
            <a:srgbClr val="F26B43"/>
          </p15:clr>
        </p15:guide>
        <p15:guide id="4" orient="horz" pos="3408">
          <p15:clr>
            <a:srgbClr val="F26B43"/>
          </p15:clr>
        </p15:guide>
        <p15:guide id="5" orient="horz" pos="3929">
          <p15:clr>
            <a:srgbClr val="F26B43"/>
          </p15:clr>
        </p15:guide>
        <p15:guide id="6" pos="288">
          <p15:clr>
            <a:srgbClr val="F26B43"/>
          </p15:clr>
        </p15:guide>
        <p15:guide id="7" orient="horz" pos="2736">
          <p15:clr>
            <a:srgbClr val="F26B43"/>
          </p15:clr>
        </p15:guide>
        <p15:guide id="8" pos="7392">
          <p15:clr>
            <a:srgbClr val="F26B43"/>
          </p15:clr>
        </p15:guide>
        <p15:guide id="9" pos="7248">
          <p15:clr>
            <a:srgbClr val="F26B43"/>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hapter 4">
    <p:bg>
      <p:bgPr>
        <a:gradFill>
          <a:gsLst>
            <a:gs pos="0">
              <a:schemeClr val="accent1"/>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74557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8"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587679"/>
          </a:xfrm>
        </p:spPr>
        <p:txBody>
          <a:bodyPr lIns="72000" anchor="t">
            <a:spAutoFit/>
          </a:bodyPr>
          <a:lstStyle>
            <a:lvl1pPr>
              <a:lnSpc>
                <a:spcPct val="80000"/>
              </a:lnSpc>
              <a:defRPr sz="60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461665"/>
          </a:xfrm>
          <a:prstGeom prst="rect">
            <a:avLst/>
          </a:prstGeom>
        </p:spPr>
        <p:txBody>
          <a:bodyPr lIns="108000" rIns="180000">
            <a:spAutoFit/>
          </a:bodyPr>
          <a:lstStyle>
            <a:lvl1pPr marL="0" indent="0">
              <a:buNone/>
              <a:defRPr sz="24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Tree>
    <p:extLst>
      <p:ext uri="{BB962C8B-B14F-4D97-AF65-F5344CB8AC3E}">
        <p14:creationId xmlns:p14="http://schemas.microsoft.com/office/powerpoint/2010/main" val="3633185293"/>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hapter 5">
    <p:bg>
      <p:bgPr>
        <a:gradFill>
          <a:gsLst>
            <a:gs pos="0">
              <a:schemeClr val="bg2"/>
            </a:gs>
            <a:gs pos="100000">
              <a:schemeClr val="bg2">
                <a:lumMod val="50000"/>
              </a:schemeClr>
            </a:gs>
          </a:gsLst>
          <a:lin ang="2700000" scaled="0"/>
        </a:gradFill>
        <a:effectLst/>
      </p:bgPr>
    </p:bg>
    <p:spTree>
      <p:nvGrpSpPr>
        <p:cNvPr id="1" name=""/>
        <p:cNvGrpSpPr/>
        <p:nvPr/>
      </p:nvGrpSpPr>
      <p:grpSpPr>
        <a:xfrm>
          <a:off x="0" y="0"/>
          <a:ext cx="0" cy="0"/>
          <a:chOff x="0" y="0"/>
          <a:chExt cx="0" cy="0"/>
        </a:xfrm>
      </p:grpSpPr>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p:custDataLst>
              <p:tags r:id="rId2"/>
            </p:custDataLst>
            <p:extLst>
              <p:ext uri="{D42A27DB-BD31-4B8C-83A1-F6EECF244321}">
                <p14:modId xmlns:p14="http://schemas.microsoft.com/office/powerpoint/2010/main" val="3535951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2" name="Diapositive think-cell" r:id="rId5" imgW="532" imgH="530" progId="TCLayout.ActiveDocument.1">
                  <p:embed/>
                </p:oleObj>
              </mc:Choice>
              <mc:Fallback>
                <p:oleObj name="Diapositive think-cell" r:id="rId5"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dirty="0">
              <a:latin typeface="Arial Black" panose="020B0A04020102020204" pitchFamily="34" charset="0"/>
              <a:ea typeface="+mj-ea"/>
              <a:cs typeface="+mj-cs"/>
              <a:sym typeface="Arial Black" panose="020B0A04020102020204" pitchFamily="34" charset="0"/>
            </a:endParaRPr>
          </a:p>
        </p:txBody>
      </p:sp>
      <p:sp>
        <p:nvSpPr>
          <p:cNvPr id="13" name="Forme libre : forme 12">
            <a:extLst>
              <a:ext uri="{FF2B5EF4-FFF2-40B4-BE49-F238E27FC236}">
                <a16:creationId xmlns:a16="http://schemas.microsoft.com/office/drawing/2014/main" id="{F64F9793-BC9C-4454-9F7F-5BB60A70AEED}"/>
              </a:ext>
            </a:extLst>
          </p:cNvPr>
          <p:cNvSpPr/>
          <p:nvPr/>
        </p:nvSpPr>
        <p:spPr>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4" name="Forme libre : forme 13">
            <a:extLst>
              <a:ext uri="{FF2B5EF4-FFF2-40B4-BE49-F238E27FC236}">
                <a16:creationId xmlns:a16="http://schemas.microsoft.com/office/drawing/2014/main" id="{D42A29F8-8B81-4FB1-8852-D3129D82F2F7}"/>
              </a:ext>
            </a:extLst>
          </p:cNvPr>
          <p:cNvSpPr/>
          <p:nvPr/>
        </p:nvSpPr>
        <p:spPr>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latin typeface="GT America" panose="00000500000000000000" pitchFamily="50" charset="0"/>
            </a:endParaRPr>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9352983" y="3287"/>
            <a:ext cx="2624436" cy="4508927"/>
          </a:xfrm>
          <a:prstGeom prst="rect">
            <a:avLst/>
          </a:prstGeom>
        </p:spPr>
        <p:txBody>
          <a:bodyPr wrap="none">
            <a:spAutoFit/>
          </a:bodyPr>
          <a:lstStyle>
            <a:lvl1pPr marL="0" indent="0" algn="r">
              <a:buNone/>
              <a:defRPr sz="28700" b="1">
                <a:solidFill>
                  <a:schemeClr val="bg1"/>
                </a:solidFill>
                <a:latin typeface="GT America" panose="00000500000000000000" pitchFamily="50" charset="0"/>
              </a:defRPr>
            </a:lvl1pPr>
          </a:lstStyle>
          <a:p>
            <a:pPr lvl="0"/>
            <a:r>
              <a:rPr lang="en-GB" dirty="0"/>
              <a:t>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9207" y="546021"/>
            <a:ext cx="7551996" cy="1188915"/>
          </a:xfrm>
        </p:spPr>
        <p:txBody>
          <a:bodyPr lIns="72000" anchor="t">
            <a:spAutoFit/>
          </a:bodyPr>
          <a:lstStyle>
            <a:lvl1pPr>
              <a:lnSpc>
                <a:spcPct val="80000"/>
              </a:lnSpc>
              <a:defRPr sz="4400">
                <a:solidFill>
                  <a:schemeClr val="bg1"/>
                </a:solidFill>
                <a:latin typeface="+mj-lt"/>
              </a:defRPr>
            </a:lvl1pPr>
          </a:lstStyle>
          <a:p>
            <a:r>
              <a:rPr lang="en-GB"/>
              <a:t>TITLE OF THE CHAPTER</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7551996" cy="369332"/>
          </a:xfrm>
          <a:prstGeom prst="rect">
            <a:avLst/>
          </a:prstGeom>
        </p:spPr>
        <p:txBody>
          <a:bodyPr lIns="108000" rIns="180000">
            <a:spAutoFit/>
          </a:bodyPr>
          <a:lstStyle>
            <a:lvl1pPr marL="0" indent="0">
              <a:buNone/>
              <a:defRPr sz="1800" b="1">
                <a:solidFill>
                  <a:schemeClr val="bg1"/>
                </a:solidFill>
                <a:latin typeface="GT America" panose="00000500000000000000" pitchFamily="50"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Subtitle of the chapter</a:t>
            </a:r>
          </a:p>
        </p:txBody>
      </p:sp>
      <p:sp>
        <p:nvSpPr>
          <p:cNvPr id="21" name="Espace réservé du numéro de diapositive 2">
            <a:extLst>
              <a:ext uri="{FF2B5EF4-FFF2-40B4-BE49-F238E27FC236}">
                <a16:creationId xmlns:a16="http://schemas.microsoft.com/office/drawing/2014/main" id="{97928A40-4AA3-49EF-9556-BDB555D654B8}"/>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Tree>
    <p:extLst>
      <p:ext uri="{BB962C8B-B14F-4D97-AF65-F5344CB8AC3E}">
        <p14:creationId xmlns:p14="http://schemas.microsoft.com/office/powerpoint/2010/main" val="4034255406"/>
      </p:ext>
    </p:extLst>
  </p:cSld>
  <p:clrMapOvr>
    <a:masterClrMapping/>
  </p:clrMapOvr>
  <p:extLst>
    <p:ext uri="{DCECCB84-F9BA-43D5-87BE-67443E8EF086}">
      <p15:sldGuideLst xmlns:p15="http://schemas.microsoft.com/office/powerpoint/2012/main">
        <p15:guide id="1" pos="288">
          <p15:clr>
            <a:srgbClr val="F26B43"/>
          </p15:clr>
        </p15:guide>
        <p15:guide id="2" pos="360">
          <p15:clr>
            <a:srgbClr val="A4A3A4"/>
          </p15:clr>
        </p15:guide>
        <p15:guide id="3" orient="horz" pos="3906">
          <p15:clr>
            <a:srgbClr val="F26B43"/>
          </p15:clr>
        </p15:guide>
        <p15:guide id="4" orient="horz" pos="4156">
          <p15:clr>
            <a:srgbClr val="F26B43"/>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erbatim blue">
    <p:spTree>
      <p:nvGrpSpPr>
        <p:cNvPr id="1" name=""/>
        <p:cNvGrpSpPr/>
        <p:nvPr/>
      </p:nvGrpSpPr>
      <p:grpSpPr>
        <a:xfrm>
          <a:off x="0" y="0"/>
          <a:ext cx="0" cy="0"/>
          <a:chOff x="0" y="0"/>
          <a:chExt cx="0" cy="0"/>
        </a:xfrm>
      </p:grpSpPr>
      <p:graphicFrame>
        <p:nvGraphicFramePr>
          <p:cNvPr id="3" name="Objet 2" hidden="1">
            <a:extLst>
              <a:ext uri="{FF2B5EF4-FFF2-40B4-BE49-F238E27FC236}">
                <a16:creationId xmlns:a16="http://schemas.microsoft.com/office/drawing/2014/main" id="{7BB89C52-7215-47FB-8975-6A2FFA250370}"/>
              </a:ext>
            </a:extLst>
          </p:cNvPr>
          <p:cNvGraphicFramePr>
            <a:graphicFrameLocks noChangeAspect="1"/>
          </p:cNvGraphicFramePr>
          <p:nvPr>
            <p:custDataLst>
              <p:tags r:id="rId2"/>
            </p:custDataLst>
            <p:extLst>
              <p:ext uri="{D42A27DB-BD31-4B8C-83A1-F6EECF244321}">
                <p14:modId xmlns:p14="http://schemas.microsoft.com/office/powerpoint/2010/main" val="375173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6" name="Diapositive think-cell" r:id="rId5" imgW="532" imgH="530" progId="TCLayout.ActiveDocument.1">
                  <p:embed/>
                </p:oleObj>
              </mc:Choice>
              <mc:Fallback>
                <p:oleObj name="Diapositive think-cell" r:id="rId5" imgW="532" imgH="530" progId="TCLayout.ActiveDocument.1">
                  <p:embed/>
                  <p:pic>
                    <p:nvPicPr>
                      <p:cNvPr id="3" name="Objet 2" hidden="1">
                        <a:extLst>
                          <a:ext uri="{FF2B5EF4-FFF2-40B4-BE49-F238E27FC236}">
                            <a16:creationId xmlns:a16="http://schemas.microsoft.com/office/drawing/2014/main" id="{7BB89C52-7215-47FB-8975-6A2FFA2503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5187B2B-3878-47DA-815E-8BB73EED8EFE}"/>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9" name="Espace réservé du numéro de diapositive 8">
            <a:extLst>
              <a:ext uri="{FF2B5EF4-FFF2-40B4-BE49-F238E27FC236}">
                <a16:creationId xmlns:a16="http://schemas.microsoft.com/office/drawing/2014/main" id="{117D3991-82D5-4923-813E-6007EFC65ED8}"/>
              </a:ext>
            </a:extLst>
          </p:cNvPr>
          <p:cNvSpPr>
            <a:spLocks noGrp="1"/>
          </p:cNvSpPr>
          <p:nvPr>
            <p:ph type="sldNum" sz="quarter" idx="14"/>
          </p:nvPr>
        </p:nvSpPr>
        <p:spPr/>
        <p:txBody>
          <a:bodyPr/>
          <a:lstStyle/>
          <a:p>
            <a:pPr>
              <a:defRPr/>
            </a:pPr>
            <a:fld id="{B6792039-0C1A-4BCB-8653-7596575E33E5}" type="slidenum">
              <a:rPr lang="en-GB" smtClean="0"/>
              <a:pPr>
                <a:defRPr/>
              </a:pPr>
              <a:t>‹#›</a:t>
            </a:fld>
            <a:r>
              <a:rPr lang="en-GB" dirty="0"/>
              <a:t> ‒ </a:t>
            </a: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51088" y="1494906"/>
            <a:ext cx="8238744"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GB" dirty="0"/>
              <a:t>Insert your quote here</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hasCustomPrompt="1"/>
          </p:nvPr>
        </p:nvSpPr>
        <p:spPr>
          <a:xfrm>
            <a:off x="2351088" y="4236285"/>
            <a:ext cx="8238744" cy="338554"/>
          </a:xfrm>
          <a:prstGeom prst="rect">
            <a:avLst/>
          </a:prstGeom>
        </p:spPr>
        <p:txBody>
          <a:bodyPr anchor="b">
            <a:spAutoFit/>
          </a:bodyPr>
          <a:lstStyle>
            <a:lvl1pPr marL="0" indent="0" algn="r">
              <a:buNone/>
              <a:defRPr sz="1600" b="1">
                <a:solidFill>
                  <a:schemeClr val="bg2"/>
                </a:solidFill>
                <a:latin typeface="GT America" panose="00000500000000000000" pitchFamily="50" charset="0"/>
              </a:defRPr>
            </a:lvl1pPr>
          </a:lstStyle>
          <a:p>
            <a:pPr lvl="0"/>
            <a:r>
              <a:rPr lang="en-GB" dirty="0"/>
              <a:t>Name, Position</a:t>
            </a:r>
          </a:p>
        </p:txBody>
      </p:sp>
      <p:grpSp>
        <p:nvGrpSpPr>
          <p:cNvPr id="13" name="Group 10">
            <a:extLst>
              <a:ext uri="{FF2B5EF4-FFF2-40B4-BE49-F238E27FC236}">
                <a16:creationId xmlns:a16="http://schemas.microsoft.com/office/drawing/2014/main" id="{4A038897-2792-4479-8EAB-9A8ABDE74F32}"/>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14" name="Freeform 11">
              <a:extLst>
                <a:ext uri="{FF2B5EF4-FFF2-40B4-BE49-F238E27FC236}">
                  <a16:creationId xmlns:a16="http://schemas.microsoft.com/office/drawing/2014/main" id="{BECFD5B3-64F4-4C51-A672-EBE7467808F1}"/>
                </a:ext>
              </a:extLst>
            </p:cNvPr>
            <p:cNvSpPr>
              <a:spLocks/>
            </p:cNvSpPr>
            <p:nvPr userDrawn="1"/>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sp>
          <p:nvSpPr>
            <p:cNvPr id="15" name="Freeform 12">
              <a:extLst>
                <a:ext uri="{FF2B5EF4-FFF2-40B4-BE49-F238E27FC236}">
                  <a16:creationId xmlns:a16="http://schemas.microsoft.com/office/drawing/2014/main" id="{099295A6-576A-454D-9A3A-871777688331}"/>
                </a:ext>
              </a:extLst>
            </p:cNvPr>
            <p:cNvSpPr>
              <a:spLocks/>
            </p:cNvSpPr>
            <p:nvPr userDrawn="1"/>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fr-FR" dirty="0">
                <a:latin typeface="GT America" panose="00000500000000000000" pitchFamily="50" charset="0"/>
              </a:endParaRPr>
            </a:p>
          </p:txBody>
        </p:sp>
      </p:grpSp>
      <p:sp>
        <p:nvSpPr>
          <p:cNvPr id="4" name="Titre 3">
            <a:extLst>
              <a:ext uri="{FF2B5EF4-FFF2-40B4-BE49-F238E27FC236}">
                <a16:creationId xmlns:a16="http://schemas.microsoft.com/office/drawing/2014/main" id="{9F4AF75B-C07F-40D0-9789-3B7669A97432}"/>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
        <p:nvSpPr>
          <p:cNvPr id="5" name="Footer Placeholder 4">
            <a:extLst>
              <a:ext uri="{FF2B5EF4-FFF2-40B4-BE49-F238E27FC236}">
                <a16:creationId xmlns:a16="http://schemas.microsoft.com/office/drawing/2014/main" id="{D426D0B4-50B0-974E-9562-0BB5F2BE5CA9}"/>
              </a:ext>
            </a:extLst>
          </p:cNvPr>
          <p:cNvSpPr>
            <a:spLocks noGrp="1"/>
          </p:cNvSpPr>
          <p:nvPr>
            <p:ph type="ftr" sz="quarter" idx="17"/>
          </p:nvPr>
        </p:nvSpPr>
        <p:spPr>
          <a:xfrm>
            <a:off x="402336" y="5916168"/>
            <a:ext cx="11384280" cy="219456"/>
          </a:xfrm>
          <a:prstGeom prst="rect">
            <a:avLst/>
          </a:prstGeom>
        </p:spPr>
        <p:txBody>
          <a:bodyPr/>
          <a:lstStyle>
            <a:lvl1pPr>
              <a:defRPr>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3556011461"/>
      </p:ext>
    </p:extLst>
  </p:cSld>
  <p:clrMapOvr>
    <a:masterClrMapping/>
  </p:clrMapOvr>
  <p:extLst>
    <p:ext uri="{DCECCB84-F9BA-43D5-87BE-67443E8EF086}">
      <p15:sldGuideLst xmlns:p15="http://schemas.microsoft.com/office/powerpoint/2012/main">
        <p15:guide id="1" pos="247">
          <p15:clr>
            <a:srgbClr val="F26B43"/>
          </p15:clr>
        </p15:guide>
        <p15:guide id="2" pos="7427">
          <p15:clr>
            <a:srgbClr val="F26B43"/>
          </p15:clr>
        </p15:guide>
        <p15:guide id="3" orient="horz" pos="232">
          <p15:clr>
            <a:srgbClr val="F26B43"/>
          </p15:clr>
        </p15:guide>
        <p15:guide id="4" orient="horz" pos="600">
          <p15:clr>
            <a:srgbClr val="F26B43"/>
          </p15:clr>
        </p15:guide>
        <p15:guide id="5" orient="horz" pos="3906">
          <p15:clr>
            <a:srgbClr val="F26B43"/>
          </p15:clr>
        </p15:guide>
        <p15:guide id="6" orient="horz" pos="4156">
          <p15:clr>
            <a:srgbClr val="F26B43"/>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A7272C5A-A11F-4DD3-BF54-F64C82B84D60}"/>
              </a:ext>
            </a:extLst>
          </p:cNvPr>
          <p:cNvSpPr>
            <a:spLocks noGrp="1"/>
          </p:cNvSpPr>
          <p:nvPr>
            <p:ph type="sldNum" sz="quarter" idx="14"/>
          </p:nvPr>
        </p:nvSpPr>
        <p:spPr/>
        <p:txBody>
          <a:bodyPr/>
          <a:lstStyle/>
          <a:p>
            <a:pPr>
              <a:defRPr/>
            </a:pPr>
            <a:fld id="{654BF1D4-C2E8-43FC-8EFA-04180D85A10F}" type="slidenum">
              <a:rPr lang="en-GB" smtClean="0"/>
              <a:pPr>
                <a:defRPr/>
              </a:pPr>
              <a:t>‹#›</a:t>
            </a:fld>
            <a:r>
              <a:rPr lang="en-GB" dirty="0"/>
              <a:t> ‒ </a:t>
            </a:r>
          </a:p>
        </p:txBody>
      </p:sp>
      <p:sp>
        <p:nvSpPr>
          <p:cNvPr id="3" name="TextBox 2">
            <a:extLst>
              <a:ext uri="{FF2B5EF4-FFF2-40B4-BE49-F238E27FC236}">
                <a16:creationId xmlns:a16="http://schemas.microsoft.com/office/drawing/2014/main" id="{511A8AE2-D196-41B2-8714-5C0A7DF99E53}"/>
              </a:ext>
            </a:extLst>
          </p:cNvPr>
          <p:cNvSpPr txBox="1"/>
          <p:nvPr userDrawn="1"/>
        </p:nvSpPr>
        <p:spPr>
          <a:xfrm>
            <a:off x="814093" y="6263296"/>
            <a:ext cx="9116291" cy="261610"/>
          </a:xfrm>
          <a:prstGeom prst="rect">
            <a:avLst/>
          </a:prstGeom>
          <a:noFill/>
        </p:spPr>
        <p:txBody>
          <a:bodyPr wrap="square" rtlCol="0">
            <a:spAutoFit/>
          </a:bodyPr>
          <a:lstStyle/>
          <a:p>
            <a:r>
              <a:rPr lang="en-US" sz="1100" i="1" dirty="0">
                <a:solidFill>
                  <a:schemeClr val="bg1"/>
                </a:solidFill>
                <a:latin typeface="GT America" panose="00000500000000000000" pitchFamily="50" charset="0"/>
              </a:rPr>
              <a:t>Ipsos /  Resolve to Save Lives : South Africa</a:t>
            </a:r>
          </a:p>
        </p:txBody>
      </p:sp>
    </p:spTree>
    <p:extLst>
      <p:ext uri="{BB962C8B-B14F-4D97-AF65-F5344CB8AC3E}">
        <p14:creationId xmlns:p14="http://schemas.microsoft.com/office/powerpoint/2010/main" val="2850760730"/>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Visual on the right">
    <p:spTree>
      <p:nvGrpSpPr>
        <p:cNvPr id="1" name=""/>
        <p:cNvGrpSpPr/>
        <p:nvPr/>
      </p:nvGrpSpPr>
      <p:grpSpPr>
        <a:xfrm>
          <a:off x="0" y="0"/>
          <a:ext cx="0" cy="0"/>
          <a:chOff x="0" y="0"/>
          <a:chExt cx="0" cy="0"/>
        </a:xfrm>
      </p:grpSpPr>
      <p:sp>
        <p:nvSpPr>
          <p:cNvPr id="15" name="Espace réservé pour une image  14">
            <a:extLst>
              <a:ext uri="{FF2B5EF4-FFF2-40B4-BE49-F238E27FC236}">
                <a16:creationId xmlns:a16="http://schemas.microsoft.com/office/drawing/2014/main" id="{849086DD-2C7D-4896-95DA-63FF2B90DC0D}"/>
              </a:ext>
            </a:extLst>
          </p:cNvPr>
          <p:cNvSpPr>
            <a:spLocks noGrp="1"/>
          </p:cNvSpPr>
          <p:nvPr>
            <p:ph type="pic" sz="quarter" idx="13" hasCustomPrompt="1"/>
          </p:nvPr>
        </p:nvSpPr>
        <p:spPr>
          <a:xfrm>
            <a:off x="5123892" y="0"/>
            <a:ext cx="7068108" cy="6858000"/>
          </a:xfrm>
          <a:prstGeom prst="rect">
            <a:avLst/>
          </a:prstGeom>
          <a:pattFill prst="wdUpDiag">
            <a:fgClr>
              <a:schemeClr val="bg1">
                <a:lumMod val="75000"/>
              </a:schemeClr>
            </a:fgClr>
            <a:bgClr>
              <a:schemeClr val="bg1">
                <a:lumMod val="85000"/>
              </a:schemeClr>
            </a:bgClr>
          </a:pattFill>
        </p:spPr>
        <p:txBody>
          <a:bodyPr wrap="square">
            <a:noAutofit/>
          </a:bodyPr>
          <a:lstStyle>
            <a:lvl1pPr>
              <a:defRPr>
                <a:latin typeface="GT America" panose="00000500000000000000" pitchFamily="50" charset="0"/>
              </a:defRPr>
            </a:lvl1pPr>
          </a:lstStyle>
          <a:p>
            <a:r>
              <a:rPr lang="en-GB" dirty="0"/>
              <a:t> </a:t>
            </a: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p>
            <a:fld id="{F73BA400-75BE-45F2-9E46-345C1733B6B3}" type="slidenum">
              <a:rPr lang="en-US" smtClean="0"/>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587562311"/>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BEB629-744B-4E95-8B82-7C14567E67F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AC824FB-E17B-4410-8C31-A5983E037DE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FAF488D-0016-454E-8138-BC06A78A1B70}"/>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FBF9F211-51A2-49EA-9C95-BEC82C19348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19EAF9-C855-47D0-BD94-1302CB4C771F}"/>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78865425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bg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2038634437"/>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_Visual on the right">
    <p:bg>
      <p:bgPr>
        <a:solidFill>
          <a:schemeClr val="bg1">
            <a:lumMod val="95000"/>
          </a:schemeClr>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AC36EE0-D1D8-4F63-8245-189C2DEA398B}"/>
              </a:ext>
            </a:extLst>
          </p:cNvPr>
          <p:cNvSpPr/>
          <p:nvPr userDrawn="1"/>
        </p:nvSpPr>
        <p:spPr>
          <a:xfrm>
            <a:off x="0" y="0"/>
            <a:ext cx="3990109" cy="6858000"/>
          </a:xfrm>
          <a:prstGeom prst="rect">
            <a:avLst/>
          </a:prstGeom>
          <a:gradFill>
            <a:gsLst>
              <a:gs pos="0">
                <a:schemeClr val="tx2"/>
              </a:gs>
              <a:gs pos="100000">
                <a:schemeClr val="accent6">
                  <a:lumMod val="10000"/>
                </a:schemeClr>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sp>
        <p:nvSpPr>
          <p:cNvPr id="2" name="Espace réservé du numéro de diapositive 1">
            <a:extLst>
              <a:ext uri="{FF2B5EF4-FFF2-40B4-BE49-F238E27FC236}">
                <a16:creationId xmlns:a16="http://schemas.microsoft.com/office/drawing/2014/main" id="{B52F0521-4D9F-4207-B1DF-7BCF176045CE}"/>
              </a:ext>
            </a:extLst>
          </p:cNvPr>
          <p:cNvSpPr>
            <a:spLocks noGrp="1"/>
          </p:cNvSpPr>
          <p:nvPr>
            <p:ph type="sldNum" sz="quarter" idx="18"/>
          </p:nvPr>
        </p:nvSpPr>
        <p:spPr/>
        <p:txBody>
          <a:bodyPr/>
          <a:lstStyle>
            <a:lvl1pPr>
              <a:defRPr>
                <a:solidFill>
                  <a:schemeClr val="bg1"/>
                </a:solidFill>
              </a:defRPr>
            </a:lvl1pPr>
          </a:lstStyle>
          <a:p>
            <a:fld id="{F73BA400-75BE-45F2-9E46-345C1733B6B3}" type="slidenum">
              <a:rPr lang="en-US" smtClean="0"/>
              <a:pPr/>
              <a:t>‹#›</a:t>
            </a:fld>
            <a:endParaRPr lang="en-US" dirty="0"/>
          </a:p>
        </p:txBody>
      </p:sp>
      <p:grpSp>
        <p:nvGrpSpPr>
          <p:cNvPr id="6" name="Group 5">
            <a:extLst>
              <a:ext uri="{FF2B5EF4-FFF2-40B4-BE49-F238E27FC236}">
                <a16:creationId xmlns:a16="http://schemas.microsoft.com/office/drawing/2014/main" id="{C7DBD5DA-1426-A94B-B1A9-447D4151078A}"/>
              </a:ext>
            </a:extLst>
          </p:cNvPr>
          <p:cNvGrpSpPr/>
          <p:nvPr/>
        </p:nvGrpSpPr>
        <p:grpSpPr>
          <a:xfrm>
            <a:off x="11364899" y="6200776"/>
            <a:ext cx="432372" cy="394468"/>
            <a:chOff x="11309880" y="6178130"/>
            <a:chExt cx="490427" cy="447433"/>
          </a:xfrm>
        </p:grpSpPr>
        <p:sp>
          <p:nvSpPr>
            <p:cNvPr id="7" name="Freeform: Shape 6">
              <a:extLst>
                <a:ext uri="{FF2B5EF4-FFF2-40B4-BE49-F238E27FC236}">
                  <a16:creationId xmlns:a16="http://schemas.microsoft.com/office/drawing/2014/main" id="{97F007C1-4380-CC40-8B92-36856BCBFF23}"/>
                </a:ext>
              </a:extLst>
            </p:cNvPr>
            <p:cNvSpPr/>
            <p:nvPr/>
          </p:nvSpPr>
          <p:spPr>
            <a:xfrm>
              <a:off x="11309880" y="6178130"/>
              <a:ext cx="490427" cy="447424"/>
            </a:xfrm>
            <a:custGeom>
              <a:avLst/>
              <a:gdLst>
                <a:gd name="connsiteX0" fmla="*/ 686 w 490426"/>
                <a:gd name="connsiteY0" fmla="*/ 447378 h 447424"/>
                <a:gd name="connsiteX1" fmla="*/ 686 w 490426"/>
                <a:gd name="connsiteY1" fmla="*/ 686 h 447424"/>
                <a:gd name="connsiteX2" fmla="*/ 479355 w 490426"/>
                <a:gd name="connsiteY2" fmla="*/ 686 h 447424"/>
                <a:gd name="connsiteX3" fmla="*/ 431511 w 490426"/>
                <a:gd name="connsiteY3" fmla="*/ 447378 h 447424"/>
                <a:gd name="connsiteX4" fmla="*/ 686 w 490426"/>
                <a:gd name="connsiteY4" fmla="*/ 447378 h 4474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0426" h="447424">
                  <a:moveTo>
                    <a:pt x="686" y="447378"/>
                  </a:moveTo>
                  <a:lnTo>
                    <a:pt x="686" y="686"/>
                  </a:lnTo>
                  <a:lnTo>
                    <a:pt x="479355" y="686"/>
                  </a:lnTo>
                  <a:cubicBezTo>
                    <a:pt x="500885" y="149663"/>
                    <a:pt x="492440" y="291009"/>
                    <a:pt x="431511" y="447378"/>
                  </a:cubicBezTo>
                  <a:lnTo>
                    <a:pt x="686" y="447378"/>
                  </a:lnTo>
                  <a:close/>
                </a:path>
              </a:pathLst>
            </a:custGeom>
            <a:solidFill>
              <a:srgbClr val="009D9C"/>
            </a:solidFill>
            <a:ln w="9525" cap="flat">
              <a:noFill/>
              <a:prstDash val="solid"/>
              <a:miter/>
            </a:ln>
          </p:spPr>
          <p:txBody>
            <a:bodyPr rtlCol="0" anchor="ctr"/>
            <a:lstStyle/>
            <a:p>
              <a:endParaRPr lang="en-US" dirty="0">
                <a:latin typeface="GT America" panose="00000500000000000000" pitchFamily="50" charset="0"/>
              </a:endParaRPr>
            </a:p>
          </p:txBody>
        </p:sp>
        <p:sp>
          <p:nvSpPr>
            <p:cNvPr id="8" name="Freeform: Shape 8">
              <a:extLst>
                <a:ext uri="{FF2B5EF4-FFF2-40B4-BE49-F238E27FC236}">
                  <a16:creationId xmlns:a16="http://schemas.microsoft.com/office/drawing/2014/main" id="{D5DC936F-68E6-2649-ADB3-D6747E252FC3}"/>
                </a:ext>
              </a:extLst>
            </p:cNvPr>
            <p:cNvSpPr/>
            <p:nvPr/>
          </p:nvSpPr>
          <p:spPr>
            <a:xfrm>
              <a:off x="11502079" y="6341710"/>
              <a:ext cx="10980" cy="8235"/>
            </a:xfrm>
            <a:custGeom>
              <a:avLst/>
              <a:gdLst>
                <a:gd name="connsiteX0" fmla="*/ 2708 w 10979"/>
                <a:gd name="connsiteY0" fmla="*/ 5920 h 8234"/>
                <a:gd name="connsiteX1" fmla="*/ 686 w 10979"/>
                <a:gd name="connsiteY1" fmla="*/ 7640 h 8234"/>
                <a:gd name="connsiteX2" fmla="*/ 10943 w 10979"/>
                <a:gd name="connsiteY2" fmla="*/ 3532 h 8234"/>
                <a:gd name="connsiteX3" fmla="*/ 11172 w 10979"/>
                <a:gd name="connsiteY3" fmla="*/ 686 h 8234"/>
                <a:gd name="connsiteX4" fmla="*/ 2708 w 10979"/>
                <a:gd name="connsiteY4" fmla="*/ 5920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8234">
                  <a:moveTo>
                    <a:pt x="2708" y="5920"/>
                  </a:moveTo>
                  <a:lnTo>
                    <a:pt x="686" y="7640"/>
                  </a:lnTo>
                  <a:cubicBezTo>
                    <a:pt x="5133" y="9241"/>
                    <a:pt x="9973" y="6167"/>
                    <a:pt x="10943" y="3532"/>
                  </a:cubicBezTo>
                  <a:lnTo>
                    <a:pt x="11172" y="686"/>
                  </a:lnTo>
                  <a:cubicBezTo>
                    <a:pt x="7640" y="1482"/>
                    <a:pt x="4154" y="3221"/>
                    <a:pt x="2708" y="592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9" name="Freeform: Shape 11">
              <a:extLst>
                <a:ext uri="{FF2B5EF4-FFF2-40B4-BE49-F238E27FC236}">
                  <a16:creationId xmlns:a16="http://schemas.microsoft.com/office/drawing/2014/main" id="{2248EA13-796E-634F-B570-551E183589C5}"/>
                </a:ext>
              </a:extLst>
            </p:cNvPr>
            <p:cNvSpPr/>
            <p:nvPr/>
          </p:nvSpPr>
          <p:spPr>
            <a:xfrm>
              <a:off x="11524752" y="6360604"/>
              <a:ext cx="9150" cy="9150"/>
            </a:xfrm>
            <a:custGeom>
              <a:avLst/>
              <a:gdLst>
                <a:gd name="connsiteX0" fmla="*/ 4200 w 9149"/>
                <a:gd name="connsiteY0" fmla="*/ 906 h 9149"/>
                <a:gd name="connsiteX1" fmla="*/ 686 w 9149"/>
                <a:gd name="connsiteY1" fmla="*/ 686 h 9149"/>
                <a:gd name="connsiteX2" fmla="*/ 4950 w 9149"/>
                <a:gd name="connsiteY2" fmla="*/ 8281 h 9149"/>
                <a:gd name="connsiteX3" fmla="*/ 7576 w 9149"/>
                <a:gd name="connsiteY3" fmla="*/ 8866 h 9149"/>
                <a:gd name="connsiteX4" fmla="*/ 4200 w 9149"/>
                <a:gd name="connsiteY4" fmla="*/ 906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49" h="9149">
                  <a:moveTo>
                    <a:pt x="4200" y="906"/>
                  </a:moveTo>
                  <a:lnTo>
                    <a:pt x="686" y="686"/>
                  </a:lnTo>
                  <a:cubicBezTo>
                    <a:pt x="695" y="3779"/>
                    <a:pt x="1674" y="6286"/>
                    <a:pt x="4950" y="8281"/>
                  </a:cubicBezTo>
                  <a:lnTo>
                    <a:pt x="7576" y="8866"/>
                  </a:lnTo>
                  <a:cubicBezTo>
                    <a:pt x="11172" y="5792"/>
                    <a:pt x="6377" y="2653"/>
                    <a:pt x="4200" y="90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0" name="Freeform: Shape 12">
              <a:extLst>
                <a:ext uri="{FF2B5EF4-FFF2-40B4-BE49-F238E27FC236}">
                  <a16:creationId xmlns:a16="http://schemas.microsoft.com/office/drawing/2014/main" id="{42DEA270-F022-ED40-948F-3DB29A2A152F}"/>
                </a:ext>
              </a:extLst>
            </p:cNvPr>
            <p:cNvSpPr/>
            <p:nvPr/>
          </p:nvSpPr>
          <p:spPr>
            <a:xfrm>
              <a:off x="11490340" y="6281696"/>
              <a:ext cx="13725" cy="10065"/>
            </a:xfrm>
            <a:custGeom>
              <a:avLst/>
              <a:gdLst>
                <a:gd name="connsiteX0" fmla="*/ 3303 w 13724"/>
                <a:gd name="connsiteY0" fmla="*/ 7100 h 10064"/>
                <a:gd name="connsiteX1" fmla="*/ 686 w 13724"/>
                <a:gd name="connsiteY1" fmla="*/ 8958 h 10064"/>
                <a:gd name="connsiteX2" fmla="*/ 12325 w 13724"/>
                <a:gd name="connsiteY2" fmla="*/ 4191 h 10064"/>
                <a:gd name="connsiteX3" fmla="*/ 13194 w 13724"/>
                <a:gd name="connsiteY3" fmla="*/ 686 h 10064"/>
                <a:gd name="connsiteX4" fmla="*/ 3303 w 13724"/>
                <a:gd name="connsiteY4" fmla="*/ 7100 h 10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724" h="10064">
                  <a:moveTo>
                    <a:pt x="3303" y="7100"/>
                  </a:moveTo>
                  <a:lnTo>
                    <a:pt x="686" y="8958"/>
                  </a:lnTo>
                  <a:cubicBezTo>
                    <a:pt x="6030" y="10870"/>
                    <a:pt x="10403" y="8034"/>
                    <a:pt x="12325" y="4191"/>
                  </a:cubicBezTo>
                  <a:lnTo>
                    <a:pt x="13194" y="686"/>
                  </a:lnTo>
                  <a:cubicBezTo>
                    <a:pt x="8948" y="1629"/>
                    <a:pt x="5673" y="1601"/>
                    <a:pt x="3303" y="7100"/>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1" name="Freeform: Shape 13">
              <a:extLst>
                <a:ext uri="{FF2B5EF4-FFF2-40B4-BE49-F238E27FC236}">
                  <a16:creationId xmlns:a16="http://schemas.microsoft.com/office/drawing/2014/main" id="{AC9DB490-C29E-3E43-9A26-4410D9993A01}"/>
                </a:ext>
              </a:extLst>
            </p:cNvPr>
            <p:cNvSpPr/>
            <p:nvPr/>
          </p:nvSpPr>
          <p:spPr>
            <a:xfrm>
              <a:off x="11483340" y="6302842"/>
              <a:ext cx="10980" cy="9150"/>
            </a:xfrm>
            <a:custGeom>
              <a:avLst/>
              <a:gdLst>
                <a:gd name="connsiteX0" fmla="*/ 10577 w 10979"/>
                <a:gd name="connsiteY0" fmla="*/ 3568 h 9149"/>
                <a:gd name="connsiteX1" fmla="*/ 9799 w 10979"/>
                <a:gd name="connsiteY1" fmla="*/ 686 h 9149"/>
                <a:gd name="connsiteX2" fmla="*/ 686 w 10979"/>
                <a:gd name="connsiteY2" fmla="*/ 6441 h 9149"/>
                <a:gd name="connsiteX3" fmla="*/ 686 w 10979"/>
                <a:gd name="connsiteY3" fmla="*/ 8720 h 9149"/>
                <a:gd name="connsiteX4" fmla="*/ 10577 w 10979"/>
                <a:gd name="connsiteY4" fmla="*/ 3568 h 91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979" h="9149">
                  <a:moveTo>
                    <a:pt x="10577" y="3568"/>
                  </a:moveTo>
                  <a:lnTo>
                    <a:pt x="9799" y="686"/>
                  </a:lnTo>
                  <a:cubicBezTo>
                    <a:pt x="5554" y="1638"/>
                    <a:pt x="2416" y="3202"/>
                    <a:pt x="686" y="6441"/>
                  </a:cubicBezTo>
                  <a:lnTo>
                    <a:pt x="686" y="8720"/>
                  </a:lnTo>
                  <a:cubicBezTo>
                    <a:pt x="6021" y="10623"/>
                    <a:pt x="8857" y="5838"/>
                    <a:pt x="10577" y="3568"/>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2" name="Freeform: Shape 14">
              <a:extLst>
                <a:ext uri="{FF2B5EF4-FFF2-40B4-BE49-F238E27FC236}">
                  <a16:creationId xmlns:a16="http://schemas.microsoft.com/office/drawing/2014/main" id="{A227A5CC-0CB7-1647-BFDB-F93FC7957BB5}"/>
                </a:ext>
              </a:extLst>
            </p:cNvPr>
            <p:cNvSpPr/>
            <p:nvPr/>
          </p:nvSpPr>
          <p:spPr>
            <a:xfrm>
              <a:off x="11480056" y="6325904"/>
              <a:ext cx="12810" cy="8235"/>
            </a:xfrm>
            <a:custGeom>
              <a:avLst/>
              <a:gdLst>
                <a:gd name="connsiteX0" fmla="*/ 686 w 12809"/>
                <a:gd name="connsiteY0" fmla="*/ 6492 h 8234"/>
                <a:gd name="connsiteX1" fmla="*/ 2443 w 12809"/>
                <a:gd name="connsiteY1" fmla="*/ 7544 h 8234"/>
                <a:gd name="connsiteX2" fmla="*/ 10120 w 12809"/>
                <a:gd name="connsiteY2" fmla="*/ 2832 h 8234"/>
                <a:gd name="connsiteX3" fmla="*/ 12370 w 12809"/>
                <a:gd name="connsiteY3" fmla="*/ 864 h 8234"/>
                <a:gd name="connsiteX4" fmla="*/ 686 w 12809"/>
                <a:gd name="connsiteY4" fmla="*/ 6492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686" y="6492"/>
                  </a:moveTo>
                  <a:lnTo>
                    <a:pt x="2443" y="7544"/>
                  </a:lnTo>
                  <a:cubicBezTo>
                    <a:pt x="8290" y="9456"/>
                    <a:pt x="8674" y="4735"/>
                    <a:pt x="10120" y="2832"/>
                  </a:cubicBezTo>
                  <a:lnTo>
                    <a:pt x="12370" y="864"/>
                  </a:lnTo>
                  <a:cubicBezTo>
                    <a:pt x="6954" y="-206"/>
                    <a:pt x="2123" y="3783"/>
                    <a:pt x="686" y="6492"/>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3" name="Freeform: Shape 15">
              <a:extLst>
                <a:ext uri="{FF2B5EF4-FFF2-40B4-BE49-F238E27FC236}">
                  <a16:creationId xmlns:a16="http://schemas.microsoft.com/office/drawing/2014/main" id="{143B107B-136F-BA4C-A4F4-4E72652B02F5}"/>
                </a:ext>
              </a:extLst>
            </p:cNvPr>
            <p:cNvSpPr/>
            <p:nvPr/>
          </p:nvSpPr>
          <p:spPr>
            <a:xfrm>
              <a:off x="11512418" y="6248710"/>
              <a:ext cx="12810" cy="8235"/>
            </a:xfrm>
            <a:custGeom>
              <a:avLst/>
              <a:gdLst>
                <a:gd name="connsiteX0" fmla="*/ 2791 w 12809"/>
                <a:gd name="connsiteY0" fmla="*/ 816 h 8234"/>
                <a:gd name="connsiteX1" fmla="*/ 686 w 12809"/>
                <a:gd name="connsiteY1" fmla="*/ 1822 h 8234"/>
                <a:gd name="connsiteX2" fmla="*/ 11840 w 12809"/>
                <a:gd name="connsiteY2" fmla="*/ 6727 h 8234"/>
                <a:gd name="connsiteX3" fmla="*/ 12151 w 12809"/>
                <a:gd name="connsiteY3" fmla="*/ 3186 h 8234"/>
                <a:gd name="connsiteX4" fmla="*/ 2791 w 12809"/>
                <a:gd name="connsiteY4" fmla="*/ 816 h 82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09" h="8234">
                  <a:moveTo>
                    <a:pt x="2791" y="816"/>
                  </a:moveTo>
                  <a:lnTo>
                    <a:pt x="686" y="1822"/>
                  </a:lnTo>
                  <a:cubicBezTo>
                    <a:pt x="1263" y="5546"/>
                    <a:pt x="9717" y="9700"/>
                    <a:pt x="11840" y="6727"/>
                  </a:cubicBezTo>
                  <a:lnTo>
                    <a:pt x="12151" y="3186"/>
                  </a:lnTo>
                  <a:cubicBezTo>
                    <a:pt x="9388" y="1310"/>
                    <a:pt x="6551" y="313"/>
                    <a:pt x="2791" y="81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4" name="Freeform: Shape 16">
              <a:extLst>
                <a:ext uri="{FF2B5EF4-FFF2-40B4-BE49-F238E27FC236}">
                  <a16:creationId xmlns:a16="http://schemas.microsoft.com/office/drawing/2014/main" id="{C426CDE8-5690-C747-8C44-317B7DEDA6B3}"/>
                </a:ext>
              </a:extLst>
            </p:cNvPr>
            <p:cNvSpPr/>
            <p:nvPr/>
          </p:nvSpPr>
          <p:spPr>
            <a:xfrm>
              <a:off x="11538797" y="6238317"/>
              <a:ext cx="8235" cy="12810"/>
            </a:xfrm>
            <a:custGeom>
              <a:avLst/>
              <a:gdLst>
                <a:gd name="connsiteX0" fmla="*/ 5773 w 8234"/>
                <a:gd name="connsiteY0" fmla="*/ 1674 h 12809"/>
                <a:gd name="connsiteX1" fmla="*/ 2525 w 8234"/>
                <a:gd name="connsiteY1" fmla="*/ 686 h 12809"/>
                <a:gd name="connsiteX2" fmla="*/ 1692 w 8234"/>
                <a:gd name="connsiteY2" fmla="*/ 9324 h 12809"/>
                <a:gd name="connsiteX3" fmla="*/ 3376 w 8234"/>
                <a:gd name="connsiteY3" fmla="*/ 12700 h 12809"/>
                <a:gd name="connsiteX4" fmla="*/ 5773 w 8234"/>
                <a:gd name="connsiteY4" fmla="*/ 1674 h 128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34" h="12809">
                  <a:moveTo>
                    <a:pt x="5773" y="1674"/>
                  </a:moveTo>
                  <a:lnTo>
                    <a:pt x="2525" y="686"/>
                  </a:lnTo>
                  <a:cubicBezTo>
                    <a:pt x="777" y="3157"/>
                    <a:pt x="-147" y="5051"/>
                    <a:pt x="1692" y="9324"/>
                  </a:cubicBezTo>
                  <a:lnTo>
                    <a:pt x="3376" y="12700"/>
                  </a:lnTo>
                  <a:cubicBezTo>
                    <a:pt x="7228" y="8958"/>
                    <a:pt x="11025" y="5408"/>
                    <a:pt x="5773" y="1674"/>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6" name="Freeform: Shape 17">
              <a:extLst>
                <a:ext uri="{FF2B5EF4-FFF2-40B4-BE49-F238E27FC236}">
                  <a16:creationId xmlns:a16="http://schemas.microsoft.com/office/drawing/2014/main" id="{31A18962-1E71-E24F-9684-3579141804FF}"/>
                </a:ext>
              </a:extLst>
            </p:cNvPr>
            <p:cNvSpPr/>
            <p:nvPr/>
          </p:nvSpPr>
          <p:spPr>
            <a:xfrm>
              <a:off x="11565505" y="6216148"/>
              <a:ext cx="92412" cy="236064"/>
            </a:xfrm>
            <a:custGeom>
              <a:avLst/>
              <a:gdLst>
                <a:gd name="connsiteX0" fmla="*/ 59144 w 92412"/>
                <a:gd name="connsiteY0" fmla="*/ 101773 h 236064"/>
                <a:gd name="connsiteX1" fmla="*/ 42885 w 92412"/>
                <a:gd name="connsiteY1" fmla="*/ 97628 h 236064"/>
                <a:gd name="connsiteX2" fmla="*/ 62520 w 92412"/>
                <a:gd name="connsiteY2" fmla="*/ 93803 h 236064"/>
                <a:gd name="connsiteX3" fmla="*/ 64561 w 92412"/>
                <a:gd name="connsiteY3" fmla="*/ 97317 h 236064"/>
                <a:gd name="connsiteX4" fmla="*/ 59144 w 92412"/>
                <a:gd name="connsiteY4" fmla="*/ 101773 h 236064"/>
                <a:gd name="connsiteX5" fmla="*/ 83427 w 92412"/>
                <a:gd name="connsiteY5" fmla="*/ 106036 h 236064"/>
                <a:gd name="connsiteX6" fmla="*/ 78578 w 92412"/>
                <a:gd name="connsiteY6" fmla="*/ 87966 h 236064"/>
                <a:gd name="connsiteX7" fmla="*/ 82833 w 92412"/>
                <a:gd name="connsiteY7" fmla="*/ 80746 h 236064"/>
                <a:gd name="connsiteX8" fmla="*/ 81945 w 92412"/>
                <a:gd name="connsiteY8" fmla="*/ 58897 h 236064"/>
                <a:gd name="connsiteX9" fmla="*/ 83775 w 92412"/>
                <a:gd name="connsiteY9" fmla="*/ 57067 h 236064"/>
                <a:gd name="connsiteX10" fmla="*/ 81945 w 92412"/>
                <a:gd name="connsiteY10" fmla="*/ 50735 h 236064"/>
                <a:gd name="connsiteX11" fmla="*/ 80399 w 92412"/>
                <a:gd name="connsiteY11" fmla="*/ 41439 h 236064"/>
                <a:gd name="connsiteX12" fmla="*/ 77160 w 92412"/>
                <a:gd name="connsiteY12" fmla="*/ 34128 h 236064"/>
                <a:gd name="connsiteX13" fmla="*/ 78697 w 92412"/>
                <a:gd name="connsiteY13" fmla="*/ 30843 h 236064"/>
                <a:gd name="connsiteX14" fmla="*/ 73262 w 92412"/>
                <a:gd name="connsiteY14" fmla="*/ 27650 h 236064"/>
                <a:gd name="connsiteX15" fmla="*/ 68477 w 92412"/>
                <a:gd name="connsiteY15" fmla="*/ 24768 h 236064"/>
                <a:gd name="connsiteX16" fmla="*/ 67223 w 92412"/>
                <a:gd name="connsiteY16" fmla="*/ 20486 h 236064"/>
                <a:gd name="connsiteX17" fmla="*/ 63206 w 92412"/>
                <a:gd name="connsiteY17" fmla="*/ 22343 h 236064"/>
                <a:gd name="connsiteX18" fmla="*/ 62346 w 92412"/>
                <a:gd name="connsiteY18" fmla="*/ 17128 h 236064"/>
                <a:gd name="connsiteX19" fmla="*/ 56939 w 92412"/>
                <a:gd name="connsiteY19" fmla="*/ 19315 h 236064"/>
                <a:gd name="connsiteX20" fmla="*/ 53956 w 92412"/>
                <a:gd name="connsiteY20" fmla="*/ 12581 h 236064"/>
                <a:gd name="connsiteX21" fmla="*/ 51046 w 92412"/>
                <a:gd name="connsiteY21" fmla="*/ 13212 h 236064"/>
                <a:gd name="connsiteX22" fmla="*/ 46856 w 92412"/>
                <a:gd name="connsiteY22" fmla="*/ 16524 h 236064"/>
                <a:gd name="connsiteX23" fmla="*/ 46774 w 92412"/>
                <a:gd name="connsiteY23" fmla="*/ 10192 h 236064"/>
                <a:gd name="connsiteX24" fmla="*/ 44788 w 92412"/>
                <a:gd name="connsiteY24" fmla="*/ 9195 h 236064"/>
                <a:gd name="connsiteX25" fmla="*/ 41357 w 92412"/>
                <a:gd name="connsiteY25" fmla="*/ 7612 h 236064"/>
                <a:gd name="connsiteX26" fmla="*/ 36407 w 92412"/>
                <a:gd name="connsiteY26" fmla="*/ 9634 h 236064"/>
                <a:gd name="connsiteX27" fmla="*/ 38484 w 92412"/>
                <a:gd name="connsiteY27" fmla="*/ 3678 h 236064"/>
                <a:gd name="connsiteX28" fmla="*/ 32289 w 92412"/>
                <a:gd name="connsiteY28" fmla="*/ 10870 h 236064"/>
                <a:gd name="connsiteX29" fmla="*/ 28666 w 92412"/>
                <a:gd name="connsiteY29" fmla="*/ 11592 h 236064"/>
                <a:gd name="connsiteX30" fmla="*/ 35108 w 92412"/>
                <a:gd name="connsiteY30" fmla="*/ 2726 h 236064"/>
                <a:gd name="connsiteX31" fmla="*/ 28355 w 92412"/>
                <a:gd name="connsiteY31" fmla="*/ 8921 h 236064"/>
                <a:gd name="connsiteX32" fmla="*/ 23076 w 92412"/>
                <a:gd name="connsiteY32" fmla="*/ 9753 h 236064"/>
                <a:gd name="connsiteX33" fmla="*/ 24796 w 92412"/>
                <a:gd name="connsiteY33" fmla="*/ 2013 h 236064"/>
                <a:gd name="connsiteX34" fmla="*/ 23057 w 92412"/>
                <a:gd name="connsiteY34" fmla="*/ 6038 h 236064"/>
                <a:gd name="connsiteX35" fmla="*/ 22234 w 92412"/>
                <a:gd name="connsiteY35" fmla="*/ 1738 h 236064"/>
                <a:gd name="connsiteX36" fmla="*/ 19141 w 92412"/>
                <a:gd name="connsiteY36" fmla="*/ 11867 h 236064"/>
                <a:gd name="connsiteX37" fmla="*/ 17028 w 92412"/>
                <a:gd name="connsiteY37" fmla="*/ 2150 h 236064"/>
                <a:gd name="connsiteX38" fmla="*/ 11007 w 92412"/>
                <a:gd name="connsiteY38" fmla="*/ 11583 h 236064"/>
                <a:gd name="connsiteX39" fmla="*/ 7988 w 92412"/>
                <a:gd name="connsiteY39" fmla="*/ 12288 h 236064"/>
                <a:gd name="connsiteX40" fmla="*/ 5499 w 92412"/>
                <a:gd name="connsiteY40" fmla="*/ 2699 h 236064"/>
                <a:gd name="connsiteX41" fmla="*/ 1336 w 92412"/>
                <a:gd name="connsiteY41" fmla="*/ 231324 h 236064"/>
                <a:gd name="connsiteX42" fmla="*/ 686 w 92412"/>
                <a:gd name="connsiteY42" fmla="*/ 235359 h 236064"/>
                <a:gd name="connsiteX43" fmla="*/ 21621 w 92412"/>
                <a:gd name="connsiteY43" fmla="*/ 233191 h 236064"/>
                <a:gd name="connsiteX44" fmla="*/ 69181 w 92412"/>
                <a:gd name="connsiteY44" fmla="*/ 235753 h 236064"/>
                <a:gd name="connsiteX45" fmla="*/ 80216 w 92412"/>
                <a:gd name="connsiteY45" fmla="*/ 234051 h 236064"/>
                <a:gd name="connsiteX46" fmla="*/ 55283 w 92412"/>
                <a:gd name="connsiteY46" fmla="*/ 227381 h 236064"/>
                <a:gd name="connsiteX47" fmla="*/ 35959 w 92412"/>
                <a:gd name="connsiteY47" fmla="*/ 212567 h 236064"/>
                <a:gd name="connsiteX48" fmla="*/ 31457 w 92412"/>
                <a:gd name="connsiteY48" fmla="*/ 199959 h 236064"/>
                <a:gd name="connsiteX49" fmla="*/ 31649 w 92412"/>
                <a:gd name="connsiteY49" fmla="*/ 182565 h 236064"/>
                <a:gd name="connsiteX50" fmla="*/ 41476 w 92412"/>
                <a:gd name="connsiteY50" fmla="*/ 178988 h 236064"/>
                <a:gd name="connsiteX51" fmla="*/ 76565 w 92412"/>
                <a:gd name="connsiteY51" fmla="*/ 176792 h 236064"/>
                <a:gd name="connsiteX52" fmla="*/ 79045 w 92412"/>
                <a:gd name="connsiteY52" fmla="*/ 163671 h 236064"/>
                <a:gd name="connsiteX53" fmla="*/ 79639 w 92412"/>
                <a:gd name="connsiteY53" fmla="*/ 155518 h 236064"/>
                <a:gd name="connsiteX54" fmla="*/ 82238 w 92412"/>
                <a:gd name="connsiteY54" fmla="*/ 149132 h 236064"/>
                <a:gd name="connsiteX55" fmla="*/ 77160 w 92412"/>
                <a:gd name="connsiteY55" fmla="*/ 143816 h 236064"/>
                <a:gd name="connsiteX56" fmla="*/ 84836 w 92412"/>
                <a:gd name="connsiteY56" fmla="*/ 137201 h 236064"/>
                <a:gd name="connsiteX57" fmla="*/ 81177 w 92412"/>
                <a:gd name="connsiteY57" fmla="*/ 128929 h 236064"/>
                <a:gd name="connsiteX58" fmla="*/ 91928 w 92412"/>
                <a:gd name="connsiteY58" fmla="*/ 121362 h 236064"/>
                <a:gd name="connsiteX59" fmla="*/ 83427 w 92412"/>
                <a:gd name="connsiteY59" fmla="*/ 106036 h 236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92412" h="236064">
                  <a:moveTo>
                    <a:pt x="59144" y="101773"/>
                  </a:moveTo>
                  <a:cubicBezTo>
                    <a:pt x="52117" y="103365"/>
                    <a:pt x="41494" y="98552"/>
                    <a:pt x="42885" y="97628"/>
                  </a:cubicBezTo>
                  <a:cubicBezTo>
                    <a:pt x="46472" y="95212"/>
                    <a:pt x="54633" y="90976"/>
                    <a:pt x="62520" y="93803"/>
                  </a:cubicBezTo>
                  <a:cubicBezTo>
                    <a:pt x="63865" y="94270"/>
                    <a:pt x="64414" y="95606"/>
                    <a:pt x="64561" y="97317"/>
                  </a:cubicBezTo>
                  <a:cubicBezTo>
                    <a:pt x="64917" y="101324"/>
                    <a:pt x="61678" y="101425"/>
                    <a:pt x="59144" y="101773"/>
                  </a:cubicBezTo>
                  <a:moveTo>
                    <a:pt x="83427" y="106036"/>
                  </a:moveTo>
                  <a:cubicBezTo>
                    <a:pt x="79768" y="101141"/>
                    <a:pt x="72823" y="94453"/>
                    <a:pt x="78578" y="87966"/>
                  </a:cubicBezTo>
                  <a:cubicBezTo>
                    <a:pt x="81588" y="85669"/>
                    <a:pt x="82485" y="83930"/>
                    <a:pt x="82833" y="80746"/>
                  </a:cubicBezTo>
                  <a:cubicBezTo>
                    <a:pt x="84059" y="69730"/>
                    <a:pt x="83491" y="64945"/>
                    <a:pt x="81945" y="58897"/>
                  </a:cubicBezTo>
                  <a:cubicBezTo>
                    <a:pt x="82211" y="58357"/>
                    <a:pt x="83354" y="59034"/>
                    <a:pt x="83775" y="57067"/>
                  </a:cubicBezTo>
                  <a:cubicBezTo>
                    <a:pt x="84919" y="51760"/>
                    <a:pt x="81945" y="50735"/>
                    <a:pt x="81945" y="50735"/>
                  </a:cubicBezTo>
                  <a:cubicBezTo>
                    <a:pt x="84196" y="48768"/>
                    <a:pt x="83986" y="41375"/>
                    <a:pt x="80399" y="41439"/>
                  </a:cubicBezTo>
                  <a:cubicBezTo>
                    <a:pt x="82366" y="38209"/>
                    <a:pt x="80673" y="32994"/>
                    <a:pt x="77160" y="34128"/>
                  </a:cubicBezTo>
                  <a:cubicBezTo>
                    <a:pt x="77160" y="34128"/>
                    <a:pt x="78944" y="33204"/>
                    <a:pt x="78697" y="30843"/>
                  </a:cubicBezTo>
                  <a:cubicBezTo>
                    <a:pt x="78230" y="26150"/>
                    <a:pt x="71524" y="30752"/>
                    <a:pt x="73262" y="27650"/>
                  </a:cubicBezTo>
                  <a:cubicBezTo>
                    <a:pt x="74177" y="26022"/>
                    <a:pt x="70407" y="20477"/>
                    <a:pt x="68477" y="24768"/>
                  </a:cubicBezTo>
                  <a:cubicBezTo>
                    <a:pt x="67342" y="24018"/>
                    <a:pt x="69273" y="21328"/>
                    <a:pt x="67223" y="20486"/>
                  </a:cubicBezTo>
                  <a:cubicBezTo>
                    <a:pt x="66025" y="20541"/>
                    <a:pt x="64762" y="21492"/>
                    <a:pt x="63206" y="22343"/>
                  </a:cubicBezTo>
                  <a:cubicBezTo>
                    <a:pt x="62786" y="20559"/>
                    <a:pt x="64625" y="19626"/>
                    <a:pt x="62346" y="17128"/>
                  </a:cubicBezTo>
                  <a:cubicBezTo>
                    <a:pt x="59272" y="14987"/>
                    <a:pt x="59062" y="18153"/>
                    <a:pt x="56939" y="19315"/>
                  </a:cubicBezTo>
                  <a:cubicBezTo>
                    <a:pt x="53014" y="18427"/>
                    <a:pt x="62301" y="16103"/>
                    <a:pt x="53956" y="12581"/>
                  </a:cubicBezTo>
                  <a:cubicBezTo>
                    <a:pt x="51824" y="17686"/>
                    <a:pt x="51998" y="13907"/>
                    <a:pt x="51046" y="13212"/>
                  </a:cubicBezTo>
                  <a:cubicBezTo>
                    <a:pt x="50479" y="12791"/>
                    <a:pt x="49198" y="14136"/>
                    <a:pt x="46856" y="16524"/>
                  </a:cubicBezTo>
                  <a:cubicBezTo>
                    <a:pt x="48082" y="13148"/>
                    <a:pt x="50891" y="8994"/>
                    <a:pt x="46774" y="10192"/>
                  </a:cubicBezTo>
                  <a:cubicBezTo>
                    <a:pt x="42089" y="12297"/>
                    <a:pt x="44843" y="9543"/>
                    <a:pt x="44788" y="9195"/>
                  </a:cubicBezTo>
                  <a:cubicBezTo>
                    <a:pt x="48841" y="7365"/>
                    <a:pt x="41046" y="3010"/>
                    <a:pt x="41357" y="7612"/>
                  </a:cubicBezTo>
                  <a:cubicBezTo>
                    <a:pt x="41256" y="10741"/>
                    <a:pt x="34504" y="13413"/>
                    <a:pt x="36407" y="9634"/>
                  </a:cubicBezTo>
                  <a:cubicBezTo>
                    <a:pt x="37679" y="4876"/>
                    <a:pt x="43507" y="12150"/>
                    <a:pt x="38484" y="3678"/>
                  </a:cubicBezTo>
                  <a:cubicBezTo>
                    <a:pt x="35355" y="7228"/>
                    <a:pt x="32811" y="9570"/>
                    <a:pt x="32289" y="10870"/>
                  </a:cubicBezTo>
                  <a:cubicBezTo>
                    <a:pt x="29856" y="20605"/>
                    <a:pt x="31201" y="11730"/>
                    <a:pt x="28666" y="11592"/>
                  </a:cubicBezTo>
                  <a:cubicBezTo>
                    <a:pt x="32042" y="9341"/>
                    <a:pt x="36379" y="5325"/>
                    <a:pt x="35108" y="2726"/>
                  </a:cubicBezTo>
                  <a:cubicBezTo>
                    <a:pt x="31448" y="2452"/>
                    <a:pt x="23039" y="8427"/>
                    <a:pt x="28355" y="8921"/>
                  </a:cubicBezTo>
                  <a:cubicBezTo>
                    <a:pt x="27953" y="10815"/>
                    <a:pt x="24869" y="13065"/>
                    <a:pt x="23076" y="9753"/>
                  </a:cubicBezTo>
                  <a:cubicBezTo>
                    <a:pt x="26031" y="8976"/>
                    <a:pt x="31118" y="-943"/>
                    <a:pt x="24796" y="2013"/>
                  </a:cubicBezTo>
                  <a:cubicBezTo>
                    <a:pt x="24192" y="2607"/>
                    <a:pt x="24192" y="4373"/>
                    <a:pt x="23057" y="6038"/>
                  </a:cubicBezTo>
                  <a:cubicBezTo>
                    <a:pt x="21557" y="4684"/>
                    <a:pt x="22755" y="2589"/>
                    <a:pt x="22234" y="1738"/>
                  </a:cubicBezTo>
                  <a:cubicBezTo>
                    <a:pt x="17192" y="-2910"/>
                    <a:pt x="18949" y="9195"/>
                    <a:pt x="19141" y="11867"/>
                  </a:cubicBezTo>
                  <a:cubicBezTo>
                    <a:pt x="12544" y="7786"/>
                    <a:pt x="18739" y="8921"/>
                    <a:pt x="17028" y="2150"/>
                  </a:cubicBezTo>
                  <a:cubicBezTo>
                    <a:pt x="11565" y="3138"/>
                    <a:pt x="10092" y="5462"/>
                    <a:pt x="11007" y="11583"/>
                  </a:cubicBezTo>
                  <a:cubicBezTo>
                    <a:pt x="10266" y="13056"/>
                    <a:pt x="8894" y="16442"/>
                    <a:pt x="7988" y="12288"/>
                  </a:cubicBezTo>
                  <a:cubicBezTo>
                    <a:pt x="10943" y="8417"/>
                    <a:pt x="10659" y="2854"/>
                    <a:pt x="5499" y="2699"/>
                  </a:cubicBezTo>
                  <a:cubicBezTo>
                    <a:pt x="13825" y="78862"/>
                    <a:pt x="13212" y="155839"/>
                    <a:pt x="1336" y="231324"/>
                  </a:cubicBezTo>
                  <a:lnTo>
                    <a:pt x="686" y="235359"/>
                  </a:lnTo>
                  <a:cubicBezTo>
                    <a:pt x="6670" y="235295"/>
                    <a:pt x="15344" y="233511"/>
                    <a:pt x="21621" y="233191"/>
                  </a:cubicBezTo>
                  <a:cubicBezTo>
                    <a:pt x="39673" y="233795"/>
                    <a:pt x="39307" y="236146"/>
                    <a:pt x="69181" y="235753"/>
                  </a:cubicBezTo>
                  <a:cubicBezTo>
                    <a:pt x="76062" y="235076"/>
                    <a:pt x="77992" y="233959"/>
                    <a:pt x="80216" y="234051"/>
                  </a:cubicBezTo>
                  <a:cubicBezTo>
                    <a:pt x="78029" y="224819"/>
                    <a:pt x="62941" y="230052"/>
                    <a:pt x="55283" y="227381"/>
                  </a:cubicBezTo>
                  <a:cubicBezTo>
                    <a:pt x="42308" y="226127"/>
                    <a:pt x="40076" y="218332"/>
                    <a:pt x="35959" y="212567"/>
                  </a:cubicBezTo>
                  <a:cubicBezTo>
                    <a:pt x="34083" y="209347"/>
                    <a:pt x="31384" y="205311"/>
                    <a:pt x="31457" y="199959"/>
                  </a:cubicBezTo>
                  <a:cubicBezTo>
                    <a:pt x="30450" y="193023"/>
                    <a:pt x="31786" y="189354"/>
                    <a:pt x="31649" y="182565"/>
                  </a:cubicBezTo>
                  <a:cubicBezTo>
                    <a:pt x="32244" y="177551"/>
                    <a:pt x="37944" y="178567"/>
                    <a:pt x="41476" y="178988"/>
                  </a:cubicBezTo>
                  <a:cubicBezTo>
                    <a:pt x="52712" y="180104"/>
                    <a:pt x="71597" y="178283"/>
                    <a:pt x="76565" y="176792"/>
                  </a:cubicBezTo>
                  <a:cubicBezTo>
                    <a:pt x="83674" y="174641"/>
                    <a:pt x="83839" y="170240"/>
                    <a:pt x="79045" y="163671"/>
                  </a:cubicBezTo>
                  <a:cubicBezTo>
                    <a:pt x="78020" y="160423"/>
                    <a:pt x="78203" y="158410"/>
                    <a:pt x="79639" y="155518"/>
                  </a:cubicBezTo>
                  <a:cubicBezTo>
                    <a:pt x="81597" y="153322"/>
                    <a:pt x="84123" y="151849"/>
                    <a:pt x="82238" y="149132"/>
                  </a:cubicBezTo>
                  <a:cubicBezTo>
                    <a:pt x="82238" y="149132"/>
                    <a:pt x="65924" y="145710"/>
                    <a:pt x="77160" y="143816"/>
                  </a:cubicBezTo>
                  <a:cubicBezTo>
                    <a:pt x="88661" y="141885"/>
                    <a:pt x="84836" y="137201"/>
                    <a:pt x="84836" y="137201"/>
                  </a:cubicBezTo>
                  <a:cubicBezTo>
                    <a:pt x="84836" y="137201"/>
                    <a:pt x="82942" y="132470"/>
                    <a:pt x="81177" y="128929"/>
                  </a:cubicBezTo>
                  <a:cubicBezTo>
                    <a:pt x="79877" y="126321"/>
                    <a:pt x="90747" y="125498"/>
                    <a:pt x="91928" y="121362"/>
                  </a:cubicBezTo>
                  <a:cubicBezTo>
                    <a:pt x="94526" y="117849"/>
                    <a:pt x="86291" y="109980"/>
                    <a:pt x="83427" y="106036"/>
                  </a:cubicBezTo>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7" name="Freeform: Shape 18">
              <a:extLst>
                <a:ext uri="{FF2B5EF4-FFF2-40B4-BE49-F238E27FC236}">
                  <a16:creationId xmlns:a16="http://schemas.microsoft.com/office/drawing/2014/main" id="{EB5C7D34-706A-9547-B644-91AF9D5CAF23}"/>
                </a:ext>
              </a:extLst>
            </p:cNvPr>
            <p:cNvSpPr/>
            <p:nvPr/>
          </p:nvSpPr>
          <p:spPr>
            <a:xfrm>
              <a:off x="11309880" y="6178139"/>
              <a:ext cx="261683" cy="447424"/>
            </a:xfrm>
            <a:custGeom>
              <a:avLst/>
              <a:gdLst>
                <a:gd name="connsiteX0" fmla="*/ 256312 w 261682"/>
                <a:gd name="connsiteY0" fmla="*/ 273395 h 447424"/>
                <a:gd name="connsiteX1" fmla="*/ 208193 w 261682"/>
                <a:gd name="connsiteY1" fmla="*/ 447378 h 447424"/>
                <a:gd name="connsiteX2" fmla="*/ 208166 w 261682"/>
                <a:gd name="connsiteY2" fmla="*/ 447378 h 447424"/>
                <a:gd name="connsiteX3" fmla="*/ 686 w 261682"/>
                <a:gd name="connsiteY3" fmla="*/ 447378 h 447424"/>
                <a:gd name="connsiteX4" fmla="*/ 686 w 261682"/>
                <a:gd name="connsiteY4" fmla="*/ 686 h 447424"/>
                <a:gd name="connsiteX5" fmla="*/ 256037 w 261682"/>
                <a:gd name="connsiteY5" fmla="*/ 686 h 447424"/>
                <a:gd name="connsiteX6" fmla="*/ 261088 w 261682"/>
                <a:gd name="connsiteY6" fmla="*/ 40744 h 447424"/>
                <a:gd name="connsiteX7" fmla="*/ 257126 w 261682"/>
                <a:gd name="connsiteY7" fmla="*/ 45676 h 447424"/>
                <a:gd name="connsiteX8" fmla="*/ 259313 w 261682"/>
                <a:gd name="connsiteY8" fmla="*/ 50534 h 447424"/>
                <a:gd name="connsiteX9" fmla="*/ 257410 w 261682"/>
                <a:gd name="connsiteY9" fmla="*/ 51440 h 447424"/>
                <a:gd name="connsiteX10" fmla="*/ 255296 w 261682"/>
                <a:gd name="connsiteY10" fmla="*/ 48494 h 447424"/>
                <a:gd name="connsiteX11" fmla="*/ 249660 w 261682"/>
                <a:gd name="connsiteY11" fmla="*/ 42656 h 447424"/>
                <a:gd name="connsiteX12" fmla="*/ 251847 w 261682"/>
                <a:gd name="connsiteY12" fmla="*/ 52648 h 447424"/>
                <a:gd name="connsiteX13" fmla="*/ 243841 w 261682"/>
                <a:gd name="connsiteY13" fmla="*/ 50461 h 447424"/>
                <a:gd name="connsiteX14" fmla="*/ 241160 w 261682"/>
                <a:gd name="connsiteY14" fmla="*/ 44550 h 447424"/>
                <a:gd name="connsiteX15" fmla="*/ 241297 w 261682"/>
                <a:gd name="connsiteY15" fmla="*/ 53965 h 447424"/>
                <a:gd name="connsiteX16" fmla="*/ 237052 w 261682"/>
                <a:gd name="connsiteY16" fmla="*/ 53224 h 447424"/>
                <a:gd name="connsiteX17" fmla="*/ 236750 w 261682"/>
                <a:gd name="connsiteY17" fmla="*/ 45813 h 447424"/>
                <a:gd name="connsiteX18" fmla="*/ 230684 w 261682"/>
                <a:gd name="connsiteY18" fmla="*/ 57708 h 447424"/>
                <a:gd name="connsiteX19" fmla="*/ 229339 w 261682"/>
                <a:gd name="connsiteY19" fmla="*/ 47222 h 447424"/>
                <a:gd name="connsiteX20" fmla="*/ 223968 w 261682"/>
                <a:gd name="connsiteY20" fmla="*/ 57589 h 447424"/>
                <a:gd name="connsiteX21" fmla="*/ 221122 w 261682"/>
                <a:gd name="connsiteY21" fmla="*/ 64680 h 447424"/>
                <a:gd name="connsiteX22" fmla="*/ 216877 w 261682"/>
                <a:gd name="connsiteY22" fmla="*/ 62218 h 447424"/>
                <a:gd name="connsiteX23" fmla="*/ 218295 w 261682"/>
                <a:gd name="connsiteY23" fmla="*/ 55100 h 447424"/>
                <a:gd name="connsiteX24" fmla="*/ 211679 w 261682"/>
                <a:gd name="connsiteY24" fmla="*/ 60389 h 447424"/>
                <a:gd name="connsiteX25" fmla="*/ 208559 w 261682"/>
                <a:gd name="connsiteY25" fmla="*/ 55997 h 447424"/>
                <a:gd name="connsiteX26" fmla="*/ 206729 w 261682"/>
                <a:gd name="connsiteY26" fmla="*/ 62292 h 447424"/>
                <a:gd name="connsiteX27" fmla="*/ 209072 w 261682"/>
                <a:gd name="connsiteY27" fmla="*/ 65384 h 447424"/>
                <a:gd name="connsiteX28" fmla="*/ 209776 w 261682"/>
                <a:gd name="connsiteY28" fmla="*/ 67013 h 447424"/>
                <a:gd name="connsiteX29" fmla="*/ 197461 w 261682"/>
                <a:gd name="connsiteY29" fmla="*/ 65247 h 447424"/>
                <a:gd name="connsiteX30" fmla="*/ 205128 w 261682"/>
                <a:gd name="connsiteY30" fmla="*/ 69685 h 447424"/>
                <a:gd name="connsiteX31" fmla="*/ 196646 w 261682"/>
                <a:gd name="connsiteY31" fmla="*/ 73281 h 447424"/>
                <a:gd name="connsiteX32" fmla="*/ 187606 w 261682"/>
                <a:gd name="connsiteY32" fmla="*/ 68422 h 447424"/>
                <a:gd name="connsiteX33" fmla="*/ 182821 w 261682"/>
                <a:gd name="connsiteY33" fmla="*/ 68193 h 447424"/>
                <a:gd name="connsiteX34" fmla="*/ 193590 w 261682"/>
                <a:gd name="connsiteY34" fmla="*/ 76574 h 447424"/>
                <a:gd name="connsiteX35" fmla="*/ 197671 w 261682"/>
                <a:gd name="connsiteY35" fmla="*/ 75522 h 447424"/>
                <a:gd name="connsiteX36" fmla="*/ 201102 w 261682"/>
                <a:gd name="connsiteY36" fmla="*/ 79466 h 447424"/>
                <a:gd name="connsiteX37" fmla="*/ 188887 w 261682"/>
                <a:gd name="connsiteY37" fmla="*/ 80024 h 447424"/>
                <a:gd name="connsiteX38" fmla="*/ 187689 w 261682"/>
                <a:gd name="connsiteY38" fmla="*/ 79887 h 447424"/>
                <a:gd name="connsiteX39" fmla="*/ 187241 w 261682"/>
                <a:gd name="connsiteY39" fmla="*/ 78789 h 447424"/>
                <a:gd name="connsiteX40" fmla="*/ 177633 w 261682"/>
                <a:gd name="connsiteY40" fmla="*/ 77361 h 447424"/>
                <a:gd name="connsiteX41" fmla="*/ 182556 w 261682"/>
                <a:gd name="connsiteY41" fmla="*/ 83556 h 447424"/>
                <a:gd name="connsiteX42" fmla="*/ 186856 w 261682"/>
                <a:gd name="connsiteY42" fmla="*/ 83757 h 447424"/>
                <a:gd name="connsiteX43" fmla="*/ 188192 w 261682"/>
                <a:gd name="connsiteY43" fmla="*/ 82558 h 447424"/>
                <a:gd name="connsiteX44" fmla="*/ 194185 w 261682"/>
                <a:gd name="connsiteY44" fmla="*/ 90043 h 447424"/>
                <a:gd name="connsiteX45" fmla="*/ 186271 w 261682"/>
                <a:gd name="connsiteY45" fmla="*/ 91754 h 447424"/>
                <a:gd name="connsiteX46" fmla="*/ 169682 w 261682"/>
                <a:gd name="connsiteY46" fmla="*/ 85367 h 447424"/>
                <a:gd name="connsiteX47" fmla="*/ 180973 w 261682"/>
                <a:gd name="connsiteY47" fmla="*/ 93840 h 447424"/>
                <a:gd name="connsiteX48" fmla="*/ 176865 w 261682"/>
                <a:gd name="connsiteY48" fmla="*/ 97253 h 447424"/>
                <a:gd name="connsiteX49" fmla="*/ 183270 w 261682"/>
                <a:gd name="connsiteY49" fmla="*/ 102340 h 447424"/>
                <a:gd name="connsiteX50" fmla="*/ 179802 w 261682"/>
                <a:gd name="connsiteY50" fmla="*/ 106467 h 447424"/>
                <a:gd name="connsiteX51" fmla="*/ 171796 w 261682"/>
                <a:gd name="connsiteY51" fmla="*/ 99220 h 447424"/>
                <a:gd name="connsiteX52" fmla="*/ 170744 w 261682"/>
                <a:gd name="connsiteY52" fmla="*/ 105131 h 447424"/>
                <a:gd name="connsiteX53" fmla="*/ 163213 w 261682"/>
                <a:gd name="connsiteY53" fmla="*/ 99083 h 447424"/>
                <a:gd name="connsiteX54" fmla="*/ 164540 w 261682"/>
                <a:gd name="connsiteY54" fmla="*/ 104921 h 447424"/>
                <a:gd name="connsiteX55" fmla="*/ 156735 w 261682"/>
                <a:gd name="connsiteY55" fmla="*/ 108095 h 447424"/>
                <a:gd name="connsiteX56" fmla="*/ 172857 w 261682"/>
                <a:gd name="connsiteY56" fmla="*/ 110593 h 447424"/>
                <a:gd name="connsiteX57" fmla="*/ 175456 w 261682"/>
                <a:gd name="connsiteY57" fmla="*/ 110127 h 447424"/>
                <a:gd name="connsiteX58" fmla="*/ 178759 w 261682"/>
                <a:gd name="connsiteY58" fmla="*/ 111527 h 447424"/>
                <a:gd name="connsiteX59" fmla="*/ 170039 w 261682"/>
                <a:gd name="connsiteY59" fmla="*/ 114766 h 447424"/>
                <a:gd name="connsiteX60" fmla="*/ 162134 w 261682"/>
                <a:gd name="connsiteY60" fmla="*/ 124071 h 447424"/>
                <a:gd name="connsiteX61" fmla="*/ 170039 w 261682"/>
                <a:gd name="connsiteY61" fmla="*/ 124108 h 447424"/>
                <a:gd name="connsiteX62" fmla="*/ 174257 w 261682"/>
                <a:gd name="connsiteY62" fmla="*/ 123074 h 447424"/>
                <a:gd name="connsiteX63" fmla="*/ 176544 w 261682"/>
                <a:gd name="connsiteY63" fmla="*/ 123797 h 447424"/>
                <a:gd name="connsiteX64" fmla="*/ 166370 w 261682"/>
                <a:gd name="connsiteY64" fmla="*/ 131574 h 447424"/>
                <a:gd name="connsiteX65" fmla="*/ 171512 w 261682"/>
                <a:gd name="connsiteY65" fmla="*/ 138052 h 447424"/>
                <a:gd name="connsiteX66" fmla="*/ 162152 w 261682"/>
                <a:gd name="connsiteY66" fmla="*/ 137000 h 447424"/>
                <a:gd name="connsiteX67" fmla="*/ 172198 w 261682"/>
                <a:gd name="connsiteY67" fmla="*/ 145125 h 447424"/>
                <a:gd name="connsiteX68" fmla="*/ 165958 w 261682"/>
                <a:gd name="connsiteY68" fmla="*/ 150871 h 447424"/>
                <a:gd name="connsiteX69" fmla="*/ 166855 w 261682"/>
                <a:gd name="connsiteY69" fmla="*/ 154229 h 447424"/>
                <a:gd name="connsiteX70" fmla="*/ 169389 w 261682"/>
                <a:gd name="connsiteY70" fmla="*/ 154503 h 447424"/>
                <a:gd name="connsiteX71" fmla="*/ 163479 w 261682"/>
                <a:gd name="connsiteY71" fmla="*/ 159481 h 447424"/>
                <a:gd name="connsiteX72" fmla="*/ 169947 w 261682"/>
                <a:gd name="connsiteY72" fmla="*/ 160597 h 447424"/>
                <a:gd name="connsiteX73" fmla="*/ 167111 w 261682"/>
                <a:gd name="connsiteY73" fmla="*/ 164788 h 447424"/>
                <a:gd name="connsiteX74" fmla="*/ 176526 w 261682"/>
                <a:gd name="connsiteY74" fmla="*/ 164788 h 447424"/>
                <a:gd name="connsiteX75" fmla="*/ 170899 w 261682"/>
                <a:gd name="connsiteY75" fmla="*/ 170479 h 447424"/>
                <a:gd name="connsiteX76" fmla="*/ 178493 w 261682"/>
                <a:gd name="connsiteY76" fmla="*/ 172876 h 447424"/>
                <a:gd name="connsiteX77" fmla="*/ 177148 w 261682"/>
                <a:gd name="connsiteY77" fmla="*/ 178942 h 447424"/>
                <a:gd name="connsiteX78" fmla="*/ 184047 w 261682"/>
                <a:gd name="connsiteY78" fmla="*/ 175356 h 447424"/>
                <a:gd name="connsiteX79" fmla="*/ 186929 w 261682"/>
                <a:gd name="connsiteY79" fmla="*/ 183664 h 447424"/>
                <a:gd name="connsiteX80" fmla="*/ 189043 w 261682"/>
                <a:gd name="connsiteY80" fmla="*/ 190206 h 447424"/>
                <a:gd name="connsiteX81" fmla="*/ 194176 w 261682"/>
                <a:gd name="connsiteY81" fmla="*/ 179290 h 447424"/>
                <a:gd name="connsiteX82" fmla="*/ 199693 w 261682"/>
                <a:gd name="connsiteY82" fmla="*/ 180589 h 447424"/>
                <a:gd name="connsiteX83" fmla="*/ 196674 w 261682"/>
                <a:gd name="connsiteY83" fmla="*/ 191148 h 447424"/>
                <a:gd name="connsiteX84" fmla="*/ 210673 w 261682"/>
                <a:gd name="connsiteY84" fmla="*/ 184441 h 447424"/>
                <a:gd name="connsiteX85" fmla="*/ 208587 w 261682"/>
                <a:gd name="connsiteY85" fmla="*/ 191651 h 447424"/>
                <a:gd name="connsiteX86" fmla="*/ 196152 w 261682"/>
                <a:gd name="connsiteY86" fmla="*/ 198797 h 447424"/>
                <a:gd name="connsiteX87" fmla="*/ 205860 w 261682"/>
                <a:gd name="connsiteY87" fmla="*/ 198239 h 447424"/>
                <a:gd name="connsiteX88" fmla="*/ 208669 w 261682"/>
                <a:gd name="connsiteY88" fmla="*/ 195915 h 447424"/>
                <a:gd name="connsiteX89" fmla="*/ 210289 w 261682"/>
                <a:gd name="connsiteY89" fmla="*/ 202658 h 447424"/>
                <a:gd name="connsiteX90" fmla="*/ 213674 w 261682"/>
                <a:gd name="connsiteY90" fmla="*/ 200902 h 447424"/>
                <a:gd name="connsiteX91" fmla="*/ 213601 w 261682"/>
                <a:gd name="connsiteY91" fmla="*/ 208148 h 447424"/>
                <a:gd name="connsiteX92" fmla="*/ 216547 w 261682"/>
                <a:gd name="connsiteY92" fmla="*/ 205751 h 447424"/>
                <a:gd name="connsiteX93" fmla="*/ 220848 w 261682"/>
                <a:gd name="connsiteY93" fmla="*/ 207087 h 447424"/>
                <a:gd name="connsiteX94" fmla="*/ 219301 w 261682"/>
                <a:gd name="connsiteY94" fmla="*/ 199218 h 447424"/>
                <a:gd name="connsiteX95" fmla="*/ 224636 w 261682"/>
                <a:gd name="connsiteY95" fmla="*/ 199493 h 447424"/>
                <a:gd name="connsiteX96" fmla="*/ 225624 w 261682"/>
                <a:gd name="connsiteY96" fmla="*/ 210253 h 447424"/>
                <a:gd name="connsiteX97" fmla="*/ 233044 w 261682"/>
                <a:gd name="connsiteY97" fmla="*/ 204516 h 447424"/>
                <a:gd name="connsiteX98" fmla="*/ 231114 w 261682"/>
                <a:gd name="connsiteY98" fmla="*/ 214123 h 447424"/>
                <a:gd name="connsiteX99" fmla="*/ 234773 w 261682"/>
                <a:gd name="connsiteY99" fmla="*/ 222285 h 447424"/>
                <a:gd name="connsiteX100" fmla="*/ 239422 w 261682"/>
                <a:gd name="connsiteY100" fmla="*/ 223127 h 447424"/>
                <a:gd name="connsiteX101" fmla="*/ 242798 w 261682"/>
                <a:gd name="connsiteY101" fmla="*/ 219320 h 447424"/>
                <a:gd name="connsiteX102" fmla="*/ 242459 w 261682"/>
                <a:gd name="connsiteY102" fmla="*/ 230858 h 447424"/>
                <a:gd name="connsiteX103" fmla="*/ 238799 w 261682"/>
                <a:gd name="connsiteY103" fmla="*/ 239541 h 447424"/>
                <a:gd name="connsiteX104" fmla="*/ 228991 w 261682"/>
                <a:gd name="connsiteY104" fmla="*/ 258628 h 447424"/>
                <a:gd name="connsiteX105" fmla="*/ 188000 w 261682"/>
                <a:gd name="connsiteY105" fmla="*/ 271602 h 447424"/>
                <a:gd name="connsiteX106" fmla="*/ 206748 w 261682"/>
                <a:gd name="connsiteY106" fmla="*/ 272078 h 447424"/>
                <a:gd name="connsiteX107" fmla="*/ 214854 w 261682"/>
                <a:gd name="connsiteY107" fmla="*/ 273084 h 447424"/>
                <a:gd name="connsiteX108" fmla="*/ 235002 w 261682"/>
                <a:gd name="connsiteY108" fmla="*/ 273084 h 447424"/>
                <a:gd name="connsiteX109" fmla="*/ 256285 w 261682"/>
                <a:gd name="connsiteY109" fmla="*/ 273304 h 447424"/>
                <a:gd name="connsiteX110" fmla="*/ 256312 w 261682"/>
                <a:gd name="connsiteY110" fmla="*/ 273395 h 4474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261682" h="447424">
                  <a:moveTo>
                    <a:pt x="256312" y="273395"/>
                  </a:moveTo>
                  <a:cubicBezTo>
                    <a:pt x="247107" y="330023"/>
                    <a:pt x="231480" y="387612"/>
                    <a:pt x="208193" y="447378"/>
                  </a:cubicBezTo>
                  <a:lnTo>
                    <a:pt x="208166" y="447378"/>
                  </a:lnTo>
                  <a:lnTo>
                    <a:pt x="686" y="447378"/>
                  </a:lnTo>
                  <a:lnTo>
                    <a:pt x="686" y="686"/>
                  </a:lnTo>
                  <a:lnTo>
                    <a:pt x="256037" y="686"/>
                  </a:lnTo>
                  <a:cubicBezTo>
                    <a:pt x="258160" y="15390"/>
                    <a:pt x="259578" y="26168"/>
                    <a:pt x="261088" y="40744"/>
                  </a:cubicBezTo>
                  <a:cubicBezTo>
                    <a:pt x="261088" y="40744"/>
                    <a:pt x="256715" y="42098"/>
                    <a:pt x="257126" y="45676"/>
                  </a:cubicBezTo>
                  <a:cubicBezTo>
                    <a:pt x="257584" y="49601"/>
                    <a:pt x="259313" y="50534"/>
                    <a:pt x="259313" y="50534"/>
                  </a:cubicBezTo>
                  <a:lnTo>
                    <a:pt x="257410" y="51440"/>
                  </a:lnTo>
                  <a:cubicBezTo>
                    <a:pt x="257410" y="51440"/>
                    <a:pt x="255305" y="48375"/>
                    <a:pt x="255296" y="48494"/>
                  </a:cubicBezTo>
                  <a:cubicBezTo>
                    <a:pt x="255296" y="45474"/>
                    <a:pt x="256568" y="40964"/>
                    <a:pt x="249660" y="42656"/>
                  </a:cubicBezTo>
                  <a:cubicBezTo>
                    <a:pt x="247272" y="47927"/>
                    <a:pt x="253466" y="49061"/>
                    <a:pt x="251847" y="52648"/>
                  </a:cubicBezTo>
                  <a:cubicBezTo>
                    <a:pt x="244518" y="53069"/>
                    <a:pt x="249660" y="47158"/>
                    <a:pt x="243841" y="50461"/>
                  </a:cubicBezTo>
                  <a:cubicBezTo>
                    <a:pt x="244225" y="48768"/>
                    <a:pt x="242999" y="44257"/>
                    <a:pt x="241160" y="44550"/>
                  </a:cubicBezTo>
                  <a:cubicBezTo>
                    <a:pt x="240364" y="47103"/>
                    <a:pt x="238424" y="51385"/>
                    <a:pt x="241297" y="53965"/>
                  </a:cubicBezTo>
                  <a:cubicBezTo>
                    <a:pt x="240391" y="54578"/>
                    <a:pt x="237683" y="54167"/>
                    <a:pt x="237052" y="53224"/>
                  </a:cubicBezTo>
                  <a:cubicBezTo>
                    <a:pt x="236201" y="51952"/>
                    <a:pt x="239010" y="49757"/>
                    <a:pt x="236750" y="45813"/>
                  </a:cubicBezTo>
                  <a:cubicBezTo>
                    <a:pt x="229997" y="48723"/>
                    <a:pt x="236265" y="55237"/>
                    <a:pt x="230684" y="57708"/>
                  </a:cubicBezTo>
                  <a:cubicBezTo>
                    <a:pt x="224562" y="56930"/>
                    <a:pt x="234234" y="51715"/>
                    <a:pt x="229339" y="47222"/>
                  </a:cubicBezTo>
                  <a:cubicBezTo>
                    <a:pt x="223858" y="48494"/>
                    <a:pt x="221726" y="54212"/>
                    <a:pt x="223968" y="57589"/>
                  </a:cubicBezTo>
                  <a:cubicBezTo>
                    <a:pt x="223849" y="60581"/>
                    <a:pt x="221515" y="62090"/>
                    <a:pt x="221122" y="64680"/>
                  </a:cubicBezTo>
                  <a:cubicBezTo>
                    <a:pt x="218368" y="64250"/>
                    <a:pt x="217197" y="63243"/>
                    <a:pt x="216877" y="62218"/>
                  </a:cubicBezTo>
                  <a:cubicBezTo>
                    <a:pt x="216529" y="60306"/>
                    <a:pt x="221881" y="59318"/>
                    <a:pt x="218295" y="55100"/>
                  </a:cubicBezTo>
                  <a:cubicBezTo>
                    <a:pt x="212457" y="56015"/>
                    <a:pt x="216328" y="65448"/>
                    <a:pt x="211679" y="60389"/>
                  </a:cubicBezTo>
                  <a:cubicBezTo>
                    <a:pt x="211185" y="58202"/>
                    <a:pt x="209694" y="56235"/>
                    <a:pt x="208559" y="55997"/>
                  </a:cubicBezTo>
                  <a:cubicBezTo>
                    <a:pt x="206336" y="57607"/>
                    <a:pt x="205293" y="60105"/>
                    <a:pt x="206729" y="62292"/>
                  </a:cubicBezTo>
                  <a:lnTo>
                    <a:pt x="209072" y="65384"/>
                  </a:lnTo>
                  <a:cubicBezTo>
                    <a:pt x="208770" y="65302"/>
                    <a:pt x="210078" y="67095"/>
                    <a:pt x="209776" y="67013"/>
                  </a:cubicBezTo>
                  <a:cubicBezTo>
                    <a:pt x="205906" y="63911"/>
                    <a:pt x="200736" y="61770"/>
                    <a:pt x="197461" y="65247"/>
                  </a:cubicBezTo>
                  <a:cubicBezTo>
                    <a:pt x="197882" y="68495"/>
                    <a:pt x="200700" y="68697"/>
                    <a:pt x="205128" y="69685"/>
                  </a:cubicBezTo>
                  <a:cubicBezTo>
                    <a:pt x="199529" y="70206"/>
                    <a:pt x="198476" y="72173"/>
                    <a:pt x="196646" y="73281"/>
                  </a:cubicBezTo>
                  <a:cubicBezTo>
                    <a:pt x="195997" y="69584"/>
                    <a:pt x="191669" y="69017"/>
                    <a:pt x="187606" y="68422"/>
                  </a:cubicBezTo>
                  <a:cubicBezTo>
                    <a:pt x="185356" y="68980"/>
                    <a:pt x="183873" y="67397"/>
                    <a:pt x="182821" y="68193"/>
                  </a:cubicBezTo>
                  <a:cubicBezTo>
                    <a:pt x="184523" y="72393"/>
                    <a:pt x="188622" y="75586"/>
                    <a:pt x="193590" y="76574"/>
                  </a:cubicBezTo>
                  <a:cubicBezTo>
                    <a:pt x="195832" y="76318"/>
                    <a:pt x="196125" y="76373"/>
                    <a:pt x="197671" y="75522"/>
                  </a:cubicBezTo>
                  <a:cubicBezTo>
                    <a:pt x="200672" y="76922"/>
                    <a:pt x="200316" y="77371"/>
                    <a:pt x="201102" y="79466"/>
                  </a:cubicBezTo>
                  <a:cubicBezTo>
                    <a:pt x="196747" y="81415"/>
                    <a:pt x="193234" y="78889"/>
                    <a:pt x="188887" y="80024"/>
                  </a:cubicBezTo>
                  <a:cubicBezTo>
                    <a:pt x="188897" y="80180"/>
                    <a:pt x="187744" y="80180"/>
                    <a:pt x="187689" y="79887"/>
                  </a:cubicBezTo>
                  <a:cubicBezTo>
                    <a:pt x="187753" y="79832"/>
                    <a:pt x="187186" y="78844"/>
                    <a:pt x="187241" y="78789"/>
                  </a:cubicBezTo>
                  <a:cubicBezTo>
                    <a:pt x="185365" y="75175"/>
                    <a:pt x="180305" y="76584"/>
                    <a:pt x="177633" y="77361"/>
                  </a:cubicBezTo>
                  <a:cubicBezTo>
                    <a:pt x="177240" y="80253"/>
                    <a:pt x="180159" y="82568"/>
                    <a:pt x="182556" y="83556"/>
                  </a:cubicBezTo>
                  <a:cubicBezTo>
                    <a:pt x="185795" y="84709"/>
                    <a:pt x="186856" y="83766"/>
                    <a:pt x="186856" y="83757"/>
                  </a:cubicBezTo>
                  <a:lnTo>
                    <a:pt x="188192" y="82558"/>
                  </a:lnTo>
                  <a:cubicBezTo>
                    <a:pt x="189601" y="87691"/>
                    <a:pt x="191431" y="87948"/>
                    <a:pt x="194185" y="90043"/>
                  </a:cubicBezTo>
                  <a:cubicBezTo>
                    <a:pt x="191175" y="91141"/>
                    <a:pt x="190059" y="92056"/>
                    <a:pt x="186271" y="91754"/>
                  </a:cubicBezTo>
                  <a:cubicBezTo>
                    <a:pt x="181998" y="85166"/>
                    <a:pt x="169197" y="82284"/>
                    <a:pt x="169682" y="85367"/>
                  </a:cubicBezTo>
                  <a:cubicBezTo>
                    <a:pt x="171512" y="92193"/>
                    <a:pt x="180973" y="93840"/>
                    <a:pt x="180973" y="93840"/>
                  </a:cubicBezTo>
                  <a:cubicBezTo>
                    <a:pt x="180973" y="93840"/>
                    <a:pt x="176023" y="95670"/>
                    <a:pt x="176865" y="97253"/>
                  </a:cubicBezTo>
                  <a:cubicBezTo>
                    <a:pt x="177697" y="98863"/>
                    <a:pt x="184184" y="99842"/>
                    <a:pt x="183270" y="102340"/>
                  </a:cubicBezTo>
                  <a:cubicBezTo>
                    <a:pt x="176508" y="99339"/>
                    <a:pt x="175209" y="100565"/>
                    <a:pt x="179802" y="106467"/>
                  </a:cubicBezTo>
                  <a:cubicBezTo>
                    <a:pt x="174120" y="106741"/>
                    <a:pt x="175392" y="100629"/>
                    <a:pt x="171796" y="99220"/>
                  </a:cubicBezTo>
                  <a:cubicBezTo>
                    <a:pt x="169197" y="101114"/>
                    <a:pt x="170744" y="105131"/>
                    <a:pt x="170744" y="105131"/>
                  </a:cubicBezTo>
                  <a:cubicBezTo>
                    <a:pt x="169435" y="104106"/>
                    <a:pt x="166031" y="98369"/>
                    <a:pt x="163213" y="99083"/>
                  </a:cubicBezTo>
                  <a:cubicBezTo>
                    <a:pt x="162298" y="99787"/>
                    <a:pt x="162298" y="102880"/>
                    <a:pt x="164540" y="104921"/>
                  </a:cubicBezTo>
                  <a:cubicBezTo>
                    <a:pt x="161804" y="105515"/>
                    <a:pt x="157403" y="105149"/>
                    <a:pt x="156735" y="108095"/>
                  </a:cubicBezTo>
                  <a:cubicBezTo>
                    <a:pt x="161182" y="111481"/>
                    <a:pt x="165885" y="111472"/>
                    <a:pt x="172857" y="110593"/>
                  </a:cubicBezTo>
                  <a:cubicBezTo>
                    <a:pt x="172857" y="110593"/>
                    <a:pt x="174129" y="110566"/>
                    <a:pt x="175456" y="110127"/>
                  </a:cubicBezTo>
                  <a:cubicBezTo>
                    <a:pt x="176782" y="109688"/>
                    <a:pt x="178759" y="111527"/>
                    <a:pt x="178759" y="111527"/>
                  </a:cubicBezTo>
                  <a:cubicBezTo>
                    <a:pt x="175328" y="112304"/>
                    <a:pt x="176782" y="113439"/>
                    <a:pt x="170039" y="114766"/>
                  </a:cubicBezTo>
                  <a:cubicBezTo>
                    <a:pt x="165610" y="116888"/>
                    <a:pt x="162134" y="119633"/>
                    <a:pt x="162134" y="124071"/>
                  </a:cubicBezTo>
                  <a:cubicBezTo>
                    <a:pt x="164879" y="125425"/>
                    <a:pt x="168218" y="126724"/>
                    <a:pt x="170039" y="124108"/>
                  </a:cubicBezTo>
                  <a:cubicBezTo>
                    <a:pt x="172985" y="119835"/>
                    <a:pt x="172198" y="123266"/>
                    <a:pt x="174257" y="123074"/>
                  </a:cubicBezTo>
                  <a:lnTo>
                    <a:pt x="176544" y="123797"/>
                  </a:lnTo>
                  <a:cubicBezTo>
                    <a:pt x="174687" y="128353"/>
                    <a:pt x="164320" y="128280"/>
                    <a:pt x="166370" y="131574"/>
                  </a:cubicBezTo>
                  <a:cubicBezTo>
                    <a:pt x="168346" y="134749"/>
                    <a:pt x="171512" y="138052"/>
                    <a:pt x="171512" y="138052"/>
                  </a:cubicBezTo>
                  <a:cubicBezTo>
                    <a:pt x="171512" y="138052"/>
                    <a:pt x="164220" y="134374"/>
                    <a:pt x="162152" y="137000"/>
                  </a:cubicBezTo>
                  <a:cubicBezTo>
                    <a:pt x="160230" y="139452"/>
                    <a:pt x="164540" y="143404"/>
                    <a:pt x="172198" y="145125"/>
                  </a:cubicBezTo>
                  <a:cubicBezTo>
                    <a:pt x="169591" y="146717"/>
                    <a:pt x="160395" y="145097"/>
                    <a:pt x="165958" y="150871"/>
                  </a:cubicBezTo>
                  <a:cubicBezTo>
                    <a:pt x="159343" y="153661"/>
                    <a:pt x="161502" y="155638"/>
                    <a:pt x="166855" y="154229"/>
                  </a:cubicBezTo>
                  <a:lnTo>
                    <a:pt x="169389" y="154503"/>
                  </a:lnTo>
                  <a:cubicBezTo>
                    <a:pt x="167816" y="155601"/>
                    <a:pt x="163085" y="157779"/>
                    <a:pt x="163479" y="159481"/>
                  </a:cubicBezTo>
                  <a:cubicBezTo>
                    <a:pt x="163753" y="161731"/>
                    <a:pt x="169097" y="158913"/>
                    <a:pt x="169947" y="160597"/>
                  </a:cubicBezTo>
                  <a:cubicBezTo>
                    <a:pt x="170323" y="163031"/>
                    <a:pt x="167367" y="164083"/>
                    <a:pt x="167111" y="164788"/>
                  </a:cubicBezTo>
                  <a:cubicBezTo>
                    <a:pt x="170899" y="167185"/>
                    <a:pt x="173122" y="161393"/>
                    <a:pt x="176526" y="164788"/>
                  </a:cubicBezTo>
                  <a:cubicBezTo>
                    <a:pt x="175218" y="167276"/>
                    <a:pt x="169728" y="166782"/>
                    <a:pt x="170899" y="170479"/>
                  </a:cubicBezTo>
                  <a:cubicBezTo>
                    <a:pt x="172994" y="172071"/>
                    <a:pt x="176398" y="171375"/>
                    <a:pt x="178493" y="172876"/>
                  </a:cubicBezTo>
                  <a:cubicBezTo>
                    <a:pt x="178493" y="172876"/>
                    <a:pt x="175703" y="178238"/>
                    <a:pt x="177148" y="178942"/>
                  </a:cubicBezTo>
                  <a:cubicBezTo>
                    <a:pt x="180168" y="180415"/>
                    <a:pt x="183004" y="175657"/>
                    <a:pt x="184047" y="175356"/>
                  </a:cubicBezTo>
                  <a:cubicBezTo>
                    <a:pt x="183270" y="181550"/>
                    <a:pt x="188494" y="179482"/>
                    <a:pt x="186929" y="183664"/>
                  </a:cubicBezTo>
                  <a:cubicBezTo>
                    <a:pt x="186865" y="185905"/>
                    <a:pt x="186719" y="189007"/>
                    <a:pt x="189043" y="190206"/>
                  </a:cubicBezTo>
                  <a:cubicBezTo>
                    <a:pt x="193828" y="188732"/>
                    <a:pt x="194286" y="184935"/>
                    <a:pt x="194176" y="179290"/>
                  </a:cubicBezTo>
                  <a:cubicBezTo>
                    <a:pt x="194139" y="177323"/>
                    <a:pt x="199693" y="180589"/>
                    <a:pt x="199693" y="180589"/>
                  </a:cubicBezTo>
                  <a:cubicBezTo>
                    <a:pt x="203070" y="183307"/>
                    <a:pt x="193966" y="185375"/>
                    <a:pt x="196674" y="191148"/>
                  </a:cubicBezTo>
                  <a:cubicBezTo>
                    <a:pt x="204378" y="192228"/>
                    <a:pt x="204378" y="185658"/>
                    <a:pt x="210673" y="184441"/>
                  </a:cubicBezTo>
                  <a:cubicBezTo>
                    <a:pt x="213418" y="186354"/>
                    <a:pt x="209502" y="189446"/>
                    <a:pt x="208587" y="191651"/>
                  </a:cubicBezTo>
                  <a:cubicBezTo>
                    <a:pt x="204662" y="193847"/>
                    <a:pt x="199885" y="191194"/>
                    <a:pt x="196152" y="198797"/>
                  </a:cubicBezTo>
                  <a:cubicBezTo>
                    <a:pt x="201496" y="200984"/>
                    <a:pt x="204049" y="199182"/>
                    <a:pt x="205860" y="198239"/>
                  </a:cubicBezTo>
                  <a:cubicBezTo>
                    <a:pt x="207562" y="197004"/>
                    <a:pt x="207361" y="196409"/>
                    <a:pt x="208669" y="195915"/>
                  </a:cubicBezTo>
                  <a:cubicBezTo>
                    <a:pt x="208797" y="198010"/>
                    <a:pt x="208276" y="201789"/>
                    <a:pt x="210289" y="202658"/>
                  </a:cubicBezTo>
                  <a:cubicBezTo>
                    <a:pt x="212045" y="202521"/>
                    <a:pt x="212201" y="201890"/>
                    <a:pt x="213674" y="200902"/>
                  </a:cubicBezTo>
                  <a:cubicBezTo>
                    <a:pt x="215220" y="202512"/>
                    <a:pt x="211204" y="206456"/>
                    <a:pt x="213601" y="208148"/>
                  </a:cubicBezTo>
                  <a:cubicBezTo>
                    <a:pt x="215861" y="207727"/>
                    <a:pt x="216547" y="205751"/>
                    <a:pt x="216547" y="205751"/>
                  </a:cubicBezTo>
                  <a:cubicBezTo>
                    <a:pt x="217920" y="207544"/>
                    <a:pt x="219448" y="207572"/>
                    <a:pt x="220848" y="207087"/>
                  </a:cubicBezTo>
                  <a:cubicBezTo>
                    <a:pt x="221616" y="205175"/>
                    <a:pt x="221790" y="200792"/>
                    <a:pt x="219301" y="199218"/>
                  </a:cubicBezTo>
                  <a:cubicBezTo>
                    <a:pt x="220482" y="197827"/>
                    <a:pt x="223373" y="200472"/>
                    <a:pt x="224636" y="199493"/>
                  </a:cubicBezTo>
                  <a:cubicBezTo>
                    <a:pt x="226996" y="202384"/>
                    <a:pt x="221689" y="207929"/>
                    <a:pt x="225624" y="210253"/>
                  </a:cubicBezTo>
                  <a:cubicBezTo>
                    <a:pt x="229421" y="209905"/>
                    <a:pt x="229247" y="206108"/>
                    <a:pt x="233044" y="204516"/>
                  </a:cubicBezTo>
                  <a:cubicBezTo>
                    <a:pt x="232385" y="208405"/>
                    <a:pt x="236869" y="211223"/>
                    <a:pt x="231114" y="214123"/>
                  </a:cubicBezTo>
                  <a:cubicBezTo>
                    <a:pt x="231114" y="217920"/>
                    <a:pt x="238177" y="216795"/>
                    <a:pt x="234773" y="222285"/>
                  </a:cubicBezTo>
                  <a:cubicBezTo>
                    <a:pt x="236082" y="224481"/>
                    <a:pt x="237848" y="223529"/>
                    <a:pt x="239422" y="223127"/>
                  </a:cubicBezTo>
                  <a:lnTo>
                    <a:pt x="242798" y="219320"/>
                  </a:lnTo>
                  <a:cubicBezTo>
                    <a:pt x="241883" y="222422"/>
                    <a:pt x="241544" y="227271"/>
                    <a:pt x="242459" y="230858"/>
                  </a:cubicBezTo>
                  <a:cubicBezTo>
                    <a:pt x="241288" y="233759"/>
                    <a:pt x="244070" y="237052"/>
                    <a:pt x="238799" y="239541"/>
                  </a:cubicBezTo>
                  <a:cubicBezTo>
                    <a:pt x="237363" y="246733"/>
                    <a:pt x="237363" y="254034"/>
                    <a:pt x="228991" y="258628"/>
                  </a:cubicBezTo>
                  <a:cubicBezTo>
                    <a:pt x="224270" y="267512"/>
                    <a:pt x="194542" y="262818"/>
                    <a:pt x="188000" y="271602"/>
                  </a:cubicBezTo>
                  <a:cubicBezTo>
                    <a:pt x="189574" y="273203"/>
                    <a:pt x="204790" y="272682"/>
                    <a:pt x="206748" y="272078"/>
                  </a:cubicBezTo>
                  <a:cubicBezTo>
                    <a:pt x="209621" y="270678"/>
                    <a:pt x="211844" y="273185"/>
                    <a:pt x="214854" y="273084"/>
                  </a:cubicBezTo>
                  <a:cubicBezTo>
                    <a:pt x="221525" y="273084"/>
                    <a:pt x="229512" y="270888"/>
                    <a:pt x="235002" y="273084"/>
                  </a:cubicBezTo>
                  <a:cubicBezTo>
                    <a:pt x="242752" y="273002"/>
                    <a:pt x="249303" y="273276"/>
                    <a:pt x="256285" y="273304"/>
                  </a:cubicBezTo>
                  <a:lnTo>
                    <a:pt x="256312" y="273395"/>
                  </a:lnTo>
                  <a:close/>
                </a:path>
              </a:pathLst>
            </a:custGeom>
            <a:solidFill>
              <a:srgbClr val="2F469C"/>
            </a:solidFill>
            <a:ln w="9525" cap="flat">
              <a:noFill/>
              <a:prstDash val="solid"/>
              <a:miter/>
            </a:ln>
          </p:spPr>
          <p:txBody>
            <a:bodyPr rtlCol="0" anchor="ctr"/>
            <a:lstStyle/>
            <a:p>
              <a:endParaRPr lang="en-US" dirty="0">
                <a:latin typeface="GT America" panose="00000500000000000000" pitchFamily="50" charset="0"/>
              </a:endParaRPr>
            </a:p>
          </p:txBody>
        </p:sp>
        <p:sp>
          <p:nvSpPr>
            <p:cNvPr id="18" name="Freeform: Shape 19">
              <a:extLst>
                <a:ext uri="{FF2B5EF4-FFF2-40B4-BE49-F238E27FC236}">
                  <a16:creationId xmlns:a16="http://schemas.microsoft.com/office/drawing/2014/main" id="{D8744F50-24A8-994D-83DE-DAC97D97D844}"/>
                </a:ext>
              </a:extLst>
            </p:cNvPr>
            <p:cNvSpPr/>
            <p:nvPr/>
          </p:nvSpPr>
          <p:spPr>
            <a:xfrm>
              <a:off x="11577290" y="6472094"/>
              <a:ext cx="84178" cy="81433"/>
            </a:xfrm>
            <a:custGeom>
              <a:avLst/>
              <a:gdLst>
                <a:gd name="connsiteX0" fmla="*/ 42244 w 84177"/>
                <a:gd name="connsiteY0" fmla="*/ 64826 h 81433"/>
                <a:gd name="connsiteX1" fmla="*/ 21712 w 84177"/>
                <a:gd name="connsiteY1" fmla="*/ 40469 h 81433"/>
                <a:gd name="connsiteX2" fmla="*/ 42244 w 84177"/>
                <a:gd name="connsiteY2" fmla="*/ 16982 h 81433"/>
                <a:gd name="connsiteX3" fmla="*/ 62474 w 84177"/>
                <a:gd name="connsiteY3" fmla="*/ 40469 h 81433"/>
                <a:gd name="connsiteX4" fmla="*/ 42244 w 84177"/>
                <a:gd name="connsiteY4" fmla="*/ 64826 h 81433"/>
                <a:gd name="connsiteX5" fmla="*/ 42244 w 84177"/>
                <a:gd name="connsiteY5" fmla="*/ 686 h 81433"/>
                <a:gd name="connsiteX6" fmla="*/ 686 w 84177"/>
                <a:gd name="connsiteY6" fmla="*/ 40469 h 81433"/>
                <a:gd name="connsiteX7" fmla="*/ 42244 w 84177"/>
                <a:gd name="connsiteY7" fmla="*/ 81131 h 81433"/>
                <a:gd name="connsiteX8" fmla="*/ 83491 w 84177"/>
                <a:gd name="connsiteY8" fmla="*/ 40469 h 81433"/>
                <a:gd name="connsiteX9" fmla="*/ 42244 w 84177"/>
                <a:gd name="connsiteY9" fmla="*/ 68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4177" h="81433">
                  <a:moveTo>
                    <a:pt x="42244" y="64826"/>
                  </a:moveTo>
                  <a:cubicBezTo>
                    <a:pt x="29179" y="64826"/>
                    <a:pt x="21712" y="54432"/>
                    <a:pt x="21712" y="40469"/>
                  </a:cubicBezTo>
                  <a:cubicBezTo>
                    <a:pt x="21712" y="26351"/>
                    <a:pt x="28401" y="16982"/>
                    <a:pt x="42244" y="16982"/>
                  </a:cubicBezTo>
                  <a:cubicBezTo>
                    <a:pt x="55777" y="16982"/>
                    <a:pt x="62474" y="25601"/>
                    <a:pt x="62474" y="40469"/>
                  </a:cubicBezTo>
                  <a:cubicBezTo>
                    <a:pt x="62474" y="54276"/>
                    <a:pt x="55942" y="64826"/>
                    <a:pt x="42244" y="64826"/>
                  </a:cubicBezTo>
                  <a:moveTo>
                    <a:pt x="42244" y="686"/>
                  </a:moveTo>
                  <a:cubicBezTo>
                    <a:pt x="17503" y="686"/>
                    <a:pt x="686" y="16396"/>
                    <a:pt x="686" y="40469"/>
                  </a:cubicBezTo>
                  <a:cubicBezTo>
                    <a:pt x="686" y="64085"/>
                    <a:pt x="17815" y="81131"/>
                    <a:pt x="42244" y="81131"/>
                  </a:cubicBezTo>
                  <a:cubicBezTo>
                    <a:pt x="66985" y="81131"/>
                    <a:pt x="83491" y="62896"/>
                    <a:pt x="83491" y="40469"/>
                  </a:cubicBezTo>
                  <a:cubicBezTo>
                    <a:pt x="83491" y="16845"/>
                    <a:pt x="66839" y="686"/>
                    <a:pt x="42244"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19" name="Freeform: Shape 20">
              <a:extLst>
                <a:ext uri="{FF2B5EF4-FFF2-40B4-BE49-F238E27FC236}">
                  <a16:creationId xmlns:a16="http://schemas.microsoft.com/office/drawing/2014/main" id="{70431C4B-C136-2548-B933-1A973617C664}"/>
                </a:ext>
              </a:extLst>
            </p:cNvPr>
            <p:cNvSpPr/>
            <p:nvPr/>
          </p:nvSpPr>
          <p:spPr>
            <a:xfrm>
              <a:off x="11671011" y="6472094"/>
              <a:ext cx="57643" cy="81433"/>
            </a:xfrm>
            <a:custGeom>
              <a:avLst/>
              <a:gdLst>
                <a:gd name="connsiteX0" fmla="*/ 49491 w 57643"/>
                <a:gd name="connsiteY0" fmla="*/ 17275 h 81433"/>
                <a:gd name="connsiteX1" fmla="*/ 35629 w 57643"/>
                <a:gd name="connsiteY1" fmla="*/ 15491 h 81433"/>
                <a:gd name="connsiteX2" fmla="*/ 21703 w 57643"/>
                <a:gd name="connsiteY2" fmla="*/ 21438 h 81433"/>
                <a:gd name="connsiteX3" fmla="*/ 38118 w 57643"/>
                <a:gd name="connsiteY3" fmla="*/ 34376 h 81433"/>
                <a:gd name="connsiteX4" fmla="*/ 57735 w 57643"/>
                <a:gd name="connsiteY4" fmla="*/ 58165 h 81433"/>
                <a:gd name="connsiteX5" fmla="*/ 24796 w 57643"/>
                <a:gd name="connsiteY5" fmla="*/ 81140 h 81433"/>
                <a:gd name="connsiteX6" fmla="*/ 2077 w 57643"/>
                <a:gd name="connsiteY6" fmla="*/ 77727 h 81433"/>
                <a:gd name="connsiteX7" fmla="*/ 2077 w 57643"/>
                <a:gd name="connsiteY7" fmla="*/ 61432 h 81433"/>
                <a:gd name="connsiteX8" fmla="*/ 25574 w 57643"/>
                <a:gd name="connsiteY8" fmla="*/ 66336 h 81433"/>
                <a:gd name="connsiteX9" fmla="*/ 36718 w 57643"/>
                <a:gd name="connsiteY9" fmla="*/ 58751 h 81433"/>
                <a:gd name="connsiteX10" fmla="*/ 20459 w 57643"/>
                <a:gd name="connsiteY10" fmla="*/ 45968 h 81433"/>
                <a:gd name="connsiteX11" fmla="*/ 686 w 57643"/>
                <a:gd name="connsiteY11" fmla="*/ 21429 h 81433"/>
                <a:gd name="connsiteX12" fmla="*/ 32070 w 57643"/>
                <a:gd name="connsiteY12" fmla="*/ 686 h 81433"/>
                <a:gd name="connsiteX13" fmla="*/ 49491 w 57643"/>
                <a:gd name="connsiteY13" fmla="*/ 1967 h 81433"/>
                <a:gd name="connsiteX14" fmla="*/ 49491 w 57643"/>
                <a:gd name="connsiteY14" fmla="*/ 17275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9491" y="17275"/>
                  </a:moveTo>
                  <a:cubicBezTo>
                    <a:pt x="44815" y="16534"/>
                    <a:pt x="40305" y="15491"/>
                    <a:pt x="35629" y="15491"/>
                  </a:cubicBezTo>
                  <a:cubicBezTo>
                    <a:pt x="27431" y="15491"/>
                    <a:pt x="21703" y="17421"/>
                    <a:pt x="21703" y="21438"/>
                  </a:cubicBezTo>
                  <a:cubicBezTo>
                    <a:pt x="21703" y="26049"/>
                    <a:pt x="29444" y="29764"/>
                    <a:pt x="38118" y="34376"/>
                  </a:cubicBezTo>
                  <a:cubicBezTo>
                    <a:pt x="46371" y="38841"/>
                    <a:pt x="57735" y="44779"/>
                    <a:pt x="57735" y="58165"/>
                  </a:cubicBezTo>
                  <a:cubicBezTo>
                    <a:pt x="57735" y="72860"/>
                    <a:pt x="44660" y="81140"/>
                    <a:pt x="24796" y="81140"/>
                  </a:cubicBezTo>
                  <a:cubicBezTo>
                    <a:pt x="15774" y="81140"/>
                    <a:pt x="9552" y="79365"/>
                    <a:pt x="2077" y="77727"/>
                  </a:cubicBezTo>
                  <a:lnTo>
                    <a:pt x="2077" y="61432"/>
                  </a:lnTo>
                  <a:cubicBezTo>
                    <a:pt x="7841" y="63216"/>
                    <a:pt x="17183" y="66336"/>
                    <a:pt x="25574" y="66336"/>
                  </a:cubicBezTo>
                  <a:cubicBezTo>
                    <a:pt x="31137" y="66336"/>
                    <a:pt x="36718" y="63801"/>
                    <a:pt x="36718" y="58751"/>
                  </a:cubicBezTo>
                  <a:cubicBezTo>
                    <a:pt x="36718" y="54130"/>
                    <a:pt x="30057" y="51312"/>
                    <a:pt x="20459" y="45968"/>
                  </a:cubicBezTo>
                  <a:cubicBezTo>
                    <a:pt x="11739" y="41650"/>
                    <a:pt x="686" y="32729"/>
                    <a:pt x="686" y="21429"/>
                  </a:cubicBezTo>
                  <a:cubicBezTo>
                    <a:pt x="686" y="8079"/>
                    <a:pt x="14072" y="686"/>
                    <a:pt x="32070" y="686"/>
                  </a:cubicBezTo>
                  <a:cubicBezTo>
                    <a:pt x="37962" y="686"/>
                    <a:pt x="43727" y="1281"/>
                    <a:pt x="49491" y="1967"/>
                  </a:cubicBezTo>
                  <a:lnTo>
                    <a:pt x="49491" y="17275"/>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0" name="Freeform: Shape 21">
              <a:extLst>
                <a:ext uri="{FF2B5EF4-FFF2-40B4-BE49-F238E27FC236}">
                  <a16:creationId xmlns:a16="http://schemas.microsoft.com/office/drawing/2014/main" id="{26C33B79-1A97-B647-BA62-5C7AA669DCC0}"/>
                </a:ext>
              </a:extLst>
            </p:cNvPr>
            <p:cNvSpPr/>
            <p:nvPr/>
          </p:nvSpPr>
          <p:spPr>
            <a:xfrm>
              <a:off x="11370524" y="6444196"/>
              <a:ext cx="30194" cy="107052"/>
            </a:xfrm>
            <a:custGeom>
              <a:avLst/>
              <a:gdLst>
                <a:gd name="connsiteX0" fmla="*/ 3029 w 30194"/>
                <a:gd name="connsiteY0" fmla="*/ 106458 h 107052"/>
                <a:gd name="connsiteX1" fmla="*/ 3806 w 30194"/>
                <a:gd name="connsiteY1" fmla="*/ 79127 h 107052"/>
                <a:gd name="connsiteX2" fmla="*/ 3806 w 30194"/>
                <a:gd name="connsiteY2" fmla="*/ 37825 h 107052"/>
                <a:gd name="connsiteX3" fmla="*/ 686 w 30194"/>
                <a:gd name="connsiteY3" fmla="*/ 686 h 107052"/>
                <a:gd name="connsiteX4" fmla="*/ 27971 w 30194"/>
                <a:gd name="connsiteY4" fmla="*/ 686 h 107052"/>
                <a:gd name="connsiteX5" fmla="*/ 27193 w 30194"/>
                <a:gd name="connsiteY5" fmla="*/ 30688 h 107052"/>
                <a:gd name="connsiteX6" fmla="*/ 27193 w 30194"/>
                <a:gd name="connsiteY6" fmla="*/ 69319 h 107052"/>
                <a:gd name="connsiteX7" fmla="*/ 30304 w 30194"/>
                <a:gd name="connsiteY7" fmla="*/ 106458 h 107052"/>
                <a:gd name="connsiteX8" fmla="*/ 3029 w 30194"/>
                <a:gd name="connsiteY8" fmla="*/ 106458 h 1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194" h="107052">
                  <a:moveTo>
                    <a:pt x="3029" y="106458"/>
                  </a:moveTo>
                  <a:cubicBezTo>
                    <a:pt x="3486" y="97848"/>
                    <a:pt x="3806" y="91159"/>
                    <a:pt x="3806" y="79127"/>
                  </a:cubicBezTo>
                  <a:lnTo>
                    <a:pt x="3806" y="37825"/>
                  </a:lnTo>
                  <a:cubicBezTo>
                    <a:pt x="3806" y="22975"/>
                    <a:pt x="2873" y="11684"/>
                    <a:pt x="686" y="686"/>
                  </a:cubicBezTo>
                  <a:lnTo>
                    <a:pt x="27971" y="686"/>
                  </a:lnTo>
                  <a:cubicBezTo>
                    <a:pt x="27971" y="8262"/>
                    <a:pt x="27193" y="18812"/>
                    <a:pt x="27193" y="30688"/>
                  </a:cubicBezTo>
                  <a:lnTo>
                    <a:pt x="27193" y="69319"/>
                  </a:lnTo>
                  <a:cubicBezTo>
                    <a:pt x="27193" y="80161"/>
                    <a:pt x="28895" y="96356"/>
                    <a:pt x="30304" y="106458"/>
                  </a:cubicBezTo>
                  <a:lnTo>
                    <a:pt x="3029" y="106458"/>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1" name="Freeform: Shape 22">
              <a:extLst>
                <a:ext uri="{FF2B5EF4-FFF2-40B4-BE49-F238E27FC236}">
                  <a16:creationId xmlns:a16="http://schemas.microsoft.com/office/drawing/2014/main" id="{9DE1C625-0D34-674D-A845-F677DA824017}"/>
                </a:ext>
              </a:extLst>
            </p:cNvPr>
            <p:cNvSpPr/>
            <p:nvPr/>
          </p:nvSpPr>
          <p:spPr>
            <a:xfrm>
              <a:off x="11415257" y="6472094"/>
              <a:ext cx="86923" cy="112542"/>
            </a:xfrm>
            <a:custGeom>
              <a:avLst/>
              <a:gdLst>
                <a:gd name="connsiteX0" fmla="*/ 45447 w 86922"/>
                <a:gd name="connsiteY0" fmla="*/ 64826 h 112542"/>
                <a:gd name="connsiteX1" fmla="*/ 24851 w 86922"/>
                <a:gd name="connsiteY1" fmla="*/ 42611 h 112542"/>
                <a:gd name="connsiteX2" fmla="*/ 44504 w 86922"/>
                <a:gd name="connsiteY2" fmla="*/ 16982 h 112542"/>
                <a:gd name="connsiteX3" fmla="*/ 65421 w 86922"/>
                <a:gd name="connsiteY3" fmla="*/ 42537 h 112542"/>
                <a:gd name="connsiteX4" fmla="*/ 45447 w 86922"/>
                <a:gd name="connsiteY4" fmla="*/ 64826 h 112542"/>
                <a:gd name="connsiteX5" fmla="*/ 49665 w 86922"/>
                <a:gd name="connsiteY5" fmla="*/ 686 h 112542"/>
                <a:gd name="connsiteX6" fmla="*/ 23295 w 86922"/>
                <a:gd name="connsiteY6" fmla="*/ 13432 h 112542"/>
                <a:gd name="connsiteX7" fmla="*/ 20486 w 86922"/>
                <a:gd name="connsiteY7" fmla="*/ 2626 h 112542"/>
                <a:gd name="connsiteX8" fmla="*/ 686 w 86922"/>
                <a:gd name="connsiteY8" fmla="*/ 4117 h 112542"/>
                <a:gd name="connsiteX9" fmla="*/ 5362 w 86922"/>
                <a:gd name="connsiteY9" fmla="*/ 42620 h 112542"/>
                <a:gd name="connsiteX10" fmla="*/ 5362 w 86922"/>
                <a:gd name="connsiteY10" fmla="*/ 73720 h 112542"/>
                <a:gd name="connsiteX11" fmla="*/ 2251 w 86922"/>
                <a:gd name="connsiteY11" fmla="*/ 112460 h 112542"/>
                <a:gd name="connsiteX12" fmla="*/ 27971 w 86922"/>
                <a:gd name="connsiteY12" fmla="*/ 110969 h 112542"/>
                <a:gd name="connsiteX13" fmla="*/ 26406 w 86922"/>
                <a:gd name="connsiteY13" fmla="*/ 82623 h 112542"/>
                <a:gd name="connsiteX14" fmla="*/ 26406 w 86922"/>
                <a:gd name="connsiteY14" fmla="*/ 73720 h 112542"/>
                <a:gd name="connsiteX15" fmla="*/ 50589 w 86922"/>
                <a:gd name="connsiteY15" fmla="*/ 81140 h 112542"/>
                <a:gd name="connsiteX16" fmla="*/ 86438 w 86922"/>
                <a:gd name="connsiteY16" fmla="*/ 42400 h 112542"/>
                <a:gd name="connsiteX17" fmla="*/ 49665 w 86922"/>
                <a:gd name="connsiteY17" fmla="*/ 686 h 1125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86922" h="112542">
                  <a:moveTo>
                    <a:pt x="45447" y="64826"/>
                  </a:moveTo>
                  <a:cubicBezTo>
                    <a:pt x="32344" y="64826"/>
                    <a:pt x="24851" y="57278"/>
                    <a:pt x="24851" y="42611"/>
                  </a:cubicBezTo>
                  <a:cubicBezTo>
                    <a:pt x="24851" y="27385"/>
                    <a:pt x="31246" y="16982"/>
                    <a:pt x="44504" y="16982"/>
                  </a:cubicBezTo>
                  <a:cubicBezTo>
                    <a:pt x="56838" y="16982"/>
                    <a:pt x="65421" y="27532"/>
                    <a:pt x="65421" y="42537"/>
                  </a:cubicBezTo>
                  <a:cubicBezTo>
                    <a:pt x="65421" y="55923"/>
                    <a:pt x="58714" y="64826"/>
                    <a:pt x="45447" y="64826"/>
                  </a:cubicBezTo>
                  <a:moveTo>
                    <a:pt x="49665" y="686"/>
                  </a:moveTo>
                  <a:cubicBezTo>
                    <a:pt x="34531" y="686"/>
                    <a:pt x="28291" y="7951"/>
                    <a:pt x="23295" y="13432"/>
                  </a:cubicBezTo>
                  <a:cubicBezTo>
                    <a:pt x="22216" y="9452"/>
                    <a:pt x="21731" y="6039"/>
                    <a:pt x="20486" y="2626"/>
                  </a:cubicBezTo>
                  <a:lnTo>
                    <a:pt x="686" y="4117"/>
                  </a:lnTo>
                  <a:cubicBezTo>
                    <a:pt x="3184" y="17156"/>
                    <a:pt x="5362" y="29298"/>
                    <a:pt x="5362" y="42620"/>
                  </a:cubicBezTo>
                  <a:lnTo>
                    <a:pt x="5362" y="73720"/>
                  </a:lnTo>
                  <a:cubicBezTo>
                    <a:pt x="5362" y="84700"/>
                    <a:pt x="3029" y="105332"/>
                    <a:pt x="2251" y="112460"/>
                  </a:cubicBezTo>
                  <a:lnTo>
                    <a:pt x="27971" y="110969"/>
                  </a:lnTo>
                  <a:cubicBezTo>
                    <a:pt x="26406" y="99559"/>
                    <a:pt x="26406" y="86786"/>
                    <a:pt x="26406" y="82623"/>
                  </a:cubicBezTo>
                  <a:lnTo>
                    <a:pt x="26406" y="73720"/>
                  </a:lnTo>
                  <a:cubicBezTo>
                    <a:pt x="32024" y="76986"/>
                    <a:pt x="37953" y="81140"/>
                    <a:pt x="50589" y="81140"/>
                  </a:cubicBezTo>
                  <a:cubicBezTo>
                    <a:pt x="71954" y="81140"/>
                    <a:pt x="86438" y="64835"/>
                    <a:pt x="86438" y="42400"/>
                  </a:cubicBezTo>
                  <a:cubicBezTo>
                    <a:pt x="86438" y="18034"/>
                    <a:pt x="71496" y="686"/>
                    <a:pt x="49665" y="686"/>
                  </a:cubicBezTo>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sp>
          <p:nvSpPr>
            <p:cNvPr id="22" name="Freeform: Shape 23">
              <a:extLst>
                <a:ext uri="{FF2B5EF4-FFF2-40B4-BE49-F238E27FC236}">
                  <a16:creationId xmlns:a16="http://schemas.microsoft.com/office/drawing/2014/main" id="{D476391B-9C48-4D49-BED1-74E659654546}"/>
                </a:ext>
              </a:extLst>
            </p:cNvPr>
            <p:cNvSpPr/>
            <p:nvPr/>
          </p:nvSpPr>
          <p:spPr>
            <a:xfrm>
              <a:off x="11511348" y="6472094"/>
              <a:ext cx="57643" cy="81433"/>
            </a:xfrm>
            <a:custGeom>
              <a:avLst/>
              <a:gdLst>
                <a:gd name="connsiteX0" fmla="*/ 47817 w 57643"/>
                <a:gd name="connsiteY0" fmla="*/ 17046 h 81433"/>
                <a:gd name="connsiteX1" fmla="*/ 35647 w 57643"/>
                <a:gd name="connsiteY1" fmla="*/ 15481 h 81433"/>
                <a:gd name="connsiteX2" fmla="*/ 21712 w 57643"/>
                <a:gd name="connsiteY2" fmla="*/ 21429 h 81433"/>
                <a:gd name="connsiteX3" fmla="*/ 38127 w 57643"/>
                <a:gd name="connsiteY3" fmla="*/ 34367 h 81433"/>
                <a:gd name="connsiteX4" fmla="*/ 57753 w 57643"/>
                <a:gd name="connsiteY4" fmla="*/ 58156 h 81433"/>
                <a:gd name="connsiteX5" fmla="*/ 24805 w 57643"/>
                <a:gd name="connsiteY5" fmla="*/ 81131 h 81433"/>
                <a:gd name="connsiteX6" fmla="*/ 2086 w 57643"/>
                <a:gd name="connsiteY6" fmla="*/ 77727 h 81433"/>
                <a:gd name="connsiteX7" fmla="*/ 2086 w 57643"/>
                <a:gd name="connsiteY7" fmla="*/ 61432 h 81433"/>
                <a:gd name="connsiteX8" fmla="*/ 25583 w 57643"/>
                <a:gd name="connsiteY8" fmla="*/ 66336 h 81433"/>
                <a:gd name="connsiteX9" fmla="*/ 36727 w 57643"/>
                <a:gd name="connsiteY9" fmla="*/ 58751 h 81433"/>
                <a:gd name="connsiteX10" fmla="*/ 20468 w 57643"/>
                <a:gd name="connsiteY10" fmla="*/ 45968 h 81433"/>
                <a:gd name="connsiteX11" fmla="*/ 686 w 57643"/>
                <a:gd name="connsiteY11" fmla="*/ 21429 h 81433"/>
                <a:gd name="connsiteX12" fmla="*/ 32088 w 57643"/>
                <a:gd name="connsiteY12" fmla="*/ 686 h 81433"/>
                <a:gd name="connsiteX13" fmla="*/ 50836 w 57643"/>
                <a:gd name="connsiteY13" fmla="*/ 2242 h 81433"/>
                <a:gd name="connsiteX14" fmla="*/ 47817 w 57643"/>
                <a:gd name="connsiteY14" fmla="*/ 17046 h 814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57643" h="81433">
                  <a:moveTo>
                    <a:pt x="47817" y="17046"/>
                  </a:moveTo>
                  <a:cubicBezTo>
                    <a:pt x="43141" y="16305"/>
                    <a:pt x="40314" y="15481"/>
                    <a:pt x="35647" y="15481"/>
                  </a:cubicBezTo>
                  <a:cubicBezTo>
                    <a:pt x="27440" y="15481"/>
                    <a:pt x="21712" y="17430"/>
                    <a:pt x="21712" y="21429"/>
                  </a:cubicBezTo>
                  <a:cubicBezTo>
                    <a:pt x="21712" y="26049"/>
                    <a:pt x="29462" y="29755"/>
                    <a:pt x="38127" y="34367"/>
                  </a:cubicBezTo>
                  <a:cubicBezTo>
                    <a:pt x="46380" y="38832"/>
                    <a:pt x="57753" y="44770"/>
                    <a:pt x="57753" y="58156"/>
                  </a:cubicBezTo>
                  <a:cubicBezTo>
                    <a:pt x="57753" y="72851"/>
                    <a:pt x="44669" y="81131"/>
                    <a:pt x="24805" y="81131"/>
                  </a:cubicBezTo>
                  <a:cubicBezTo>
                    <a:pt x="15783" y="81131"/>
                    <a:pt x="9562" y="79356"/>
                    <a:pt x="2086" y="77727"/>
                  </a:cubicBezTo>
                  <a:lnTo>
                    <a:pt x="2086" y="61432"/>
                  </a:lnTo>
                  <a:cubicBezTo>
                    <a:pt x="7851" y="63216"/>
                    <a:pt x="17202" y="66336"/>
                    <a:pt x="25583" y="66336"/>
                  </a:cubicBezTo>
                  <a:cubicBezTo>
                    <a:pt x="31155" y="66336"/>
                    <a:pt x="36727" y="63801"/>
                    <a:pt x="36727" y="58751"/>
                  </a:cubicBezTo>
                  <a:cubicBezTo>
                    <a:pt x="36727" y="54148"/>
                    <a:pt x="30066" y="51312"/>
                    <a:pt x="20468" y="45968"/>
                  </a:cubicBezTo>
                  <a:cubicBezTo>
                    <a:pt x="11748" y="41659"/>
                    <a:pt x="686" y="32729"/>
                    <a:pt x="686" y="21429"/>
                  </a:cubicBezTo>
                  <a:cubicBezTo>
                    <a:pt x="686" y="8079"/>
                    <a:pt x="14072" y="686"/>
                    <a:pt x="32088" y="686"/>
                  </a:cubicBezTo>
                  <a:cubicBezTo>
                    <a:pt x="37971" y="686"/>
                    <a:pt x="45063" y="1537"/>
                    <a:pt x="50836" y="2242"/>
                  </a:cubicBezTo>
                  <a:lnTo>
                    <a:pt x="47817" y="17046"/>
                  </a:lnTo>
                  <a:close/>
                </a:path>
              </a:pathLst>
            </a:custGeom>
            <a:solidFill>
              <a:srgbClr val="FFFFFF"/>
            </a:solidFill>
            <a:ln w="9525" cap="flat">
              <a:noFill/>
              <a:prstDash val="solid"/>
              <a:miter/>
            </a:ln>
          </p:spPr>
          <p:txBody>
            <a:bodyPr rtlCol="0" anchor="ctr"/>
            <a:lstStyle/>
            <a:p>
              <a:endParaRPr lang="en-US" dirty="0">
                <a:latin typeface="GT America" panose="00000500000000000000" pitchFamily="50" charset="0"/>
              </a:endParaRPr>
            </a:p>
          </p:txBody>
        </p:sp>
      </p:grpSp>
    </p:spTree>
    <p:extLst>
      <p:ext uri="{BB962C8B-B14F-4D97-AF65-F5344CB8AC3E}">
        <p14:creationId xmlns:p14="http://schemas.microsoft.com/office/powerpoint/2010/main" val="1995963329"/>
      </p:ext>
    </p:extLst>
  </p:cSld>
  <p:clrMapOvr>
    <a:masterClrMapping/>
  </p:clrMapOvr>
  <p:extLst>
    <p:ext uri="{DCECCB84-F9BA-43D5-87BE-67443E8EF086}">
      <p15:sldGuideLst xmlns:p15="http://schemas.microsoft.com/office/powerpoint/2012/main">
        <p15:guide id="1" orient="horz" pos="3906">
          <p15:clr>
            <a:srgbClr val="F26B43"/>
          </p15:clr>
        </p15:guide>
        <p15:guide id="2" orient="horz" pos="4156">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Empty_Dark Blue Bg">
    <p:bg>
      <p:bgPr>
        <a:gradFill>
          <a:gsLst>
            <a:gs pos="0">
              <a:schemeClr val="bg2"/>
            </a:gs>
            <a:gs pos="100000">
              <a:schemeClr val="accent6">
                <a:lumMod val="10000"/>
              </a:schemeClr>
            </a:gs>
          </a:gsLst>
          <a:lin ang="2700000" scaled="0"/>
        </a:gra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185802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2"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chemeClr val="bg1"/>
                </a:solidFill>
              </a:defRPr>
            </a:lvl1pPr>
          </a:lstStyle>
          <a:p>
            <a:fld id="{F73BA400-75BE-45F2-9E46-345C1733B6B3}" type="slidenum">
              <a:rPr lang="en-US" smtClean="0"/>
              <a:t>‹#›</a:t>
            </a:fld>
            <a:endParaRPr lang="en-US" dirty="0"/>
          </a:p>
        </p:txBody>
      </p:sp>
      <p:sp>
        <p:nvSpPr>
          <p:cNvPr id="17" name="Espace réservé du pied de page 4">
            <a:extLst>
              <a:ext uri="{FF2B5EF4-FFF2-40B4-BE49-F238E27FC236}">
                <a16:creationId xmlns:a16="http://schemas.microsoft.com/office/drawing/2014/main" id="{536A3F82-5F59-45E4-A8C9-83EAACE14FE8}"/>
              </a:ext>
            </a:extLst>
          </p:cNvPr>
          <p:cNvSpPr txBox="1">
            <a:spLocks/>
          </p:cNvSpPr>
          <p:nvPr/>
        </p:nvSpPr>
        <p:spPr>
          <a:xfrm>
            <a:off x="815317" y="6219234"/>
            <a:ext cx="10447709" cy="365125"/>
          </a:xfrm>
          <a:prstGeom prst="rect">
            <a:avLst/>
          </a:prstGeom>
        </p:spPr>
        <p:txBody>
          <a:bodyPr vert="horz" lIns="0" tIns="45720" rIns="0" bIns="45720" rtlCol="0" anchor="ct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dirty="0">
                <a:solidFill>
                  <a:schemeClr val="bg1"/>
                </a:solidFill>
                <a:latin typeface="GT America" panose="00000500000000000000" pitchFamily="50" charset="0"/>
              </a:rPr>
              <a:t>© Ipsos</a:t>
            </a:r>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1"/>
                </a:solidFill>
              </a:defRPr>
            </a:lvl1pPr>
          </a:lstStyle>
          <a:p>
            <a:r>
              <a:rPr lang="fr-FR" err="1"/>
              <a:t>Title</a:t>
            </a:r>
            <a:r>
              <a:rPr lang="fr-FR"/>
              <a:t> of the slide</a:t>
            </a:r>
          </a:p>
        </p:txBody>
      </p:sp>
      <p:sp>
        <p:nvSpPr>
          <p:cNvPr id="3" name="Footer Placeholder 2">
            <a:extLst>
              <a:ext uri="{FF2B5EF4-FFF2-40B4-BE49-F238E27FC236}">
                <a16:creationId xmlns:a16="http://schemas.microsoft.com/office/drawing/2014/main" id="{B301C75E-982D-1F41-8CA4-959C932A2864}"/>
              </a:ext>
            </a:extLst>
          </p:cNvPr>
          <p:cNvSpPr>
            <a:spLocks noGrp="1"/>
          </p:cNvSpPr>
          <p:nvPr>
            <p:ph type="ftr" sz="quarter" idx="15"/>
          </p:nvPr>
        </p:nvSpPr>
        <p:spPr>
          <a:xfrm>
            <a:off x="402336" y="5916168"/>
            <a:ext cx="11384280" cy="219456"/>
          </a:xfrm>
          <a:prstGeom prst="rect">
            <a:avLst/>
          </a:prstGeom>
        </p:spPr>
        <p:txBody>
          <a:bodyPr/>
          <a:lstStyle>
            <a:lvl1pPr>
              <a:defRPr>
                <a:solidFill>
                  <a:schemeClr val="bg1"/>
                </a:solidFill>
                <a:latin typeface="GT America" panose="00000500000000000000" pitchFamily="50" charset="0"/>
              </a:defRPr>
            </a:lvl1pPr>
          </a:lstStyle>
          <a:p>
            <a:endParaRPr lang="en-US" dirty="0"/>
          </a:p>
        </p:txBody>
      </p:sp>
    </p:spTree>
    <p:extLst>
      <p:ext uri="{BB962C8B-B14F-4D97-AF65-F5344CB8AC3E}">
        <p14:creationId xmlns:p14="http://schemas.microsoft.com/office/powerpoint/2010/main" val="1541966143"/>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2_Empty_Dark Blue Bg">
    <p:bg>
      <p:bgPr>
        <a:solidFill>
          <a:schemeClr val="bg1"/>
        </a:solidFill>
        <a:effectLst/>
      </p:bgPr>
    </p:bg>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p:custDataLst>
              <p:tags r:id="rId2"/>
            </p:custDataLst>
            <p:extLst>
              <p:ext uri="{D42A27DB-BD31-4B8C-83A1-F6EECF244321}">
                <p14:modId xmlns:p14="http://schemas.microsoft.com/office/powerpoint/2010/main" val="32885003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6"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15" name="Espace réservé du numéro de diapositive 2">
            <a:extLst>
              <a:ext uri="{FF2B5EF4-FFF2-40B4-BE49-F238E27FC236}">
                <a16:creationId xmlns:a16="http://schemas.microsoft.com/office/drawing/2014/main" id="{3E5B363C-4834-4022-B3EF-4F0B2F86B47B}"/>
              </a:ext>
            </a:extLst>
          </p:cNvPr>
          <p:cNvSpPr>
            <a:spLocks noGrp="1"/>
          </p:cNvSpPr>
          <p:nvPr>
            <p:ph type="sldNum" sz="quarter" idx="14"/>
          </p:nvPr>
        </p:nvSpPr>
        <p:spPr>
          <a:xfrm>
            <a:off x="382932" y="6219234"/>
            <a:ext cx="360037" cy="365125"/>
          </a:xfrm>
        </p:spPr>
        <p:txBody>
          <a:bodyPr/>
          <a:lstStyle>
            <a:lvl1pPr>
              <a:defRPr>
                <a:solidFill>
                  <a:srgbClr val="405A9C"/>
                </a:solidFill>
              </a:defRPr>
            </a:lvl1pPr>
          </a:lstStyle>
          <a:p>
            <a:fld id="{F73BA400-75BE-45F2-9E46-345C1733B6B3}" type="slidenum">
              <a:rPr lang="en-US" smtClean="0"/>
              <a:t>‹#›</a:t>
            </a:fld>
            <a:endParaRPr lang="en-US" dirty="0"/>
          </a:p>
        </p:txBody>
      </p:sp>
      <p:sp>
        <p:nvSpPr>
          <p:cNvPr id="5" name="Titre 4">
            <a:extLst>
              <a:ext uri="{FF2B5EF4-FFF2-40B4-BE49-F238E27FC236}">
                <a16:creationId xmlns:a16="http://schemas.microsoft.com/office/drawing/2014/main" id="{DC39ED46-ACD4-4140-8AE3-6EA8A681DA9A}"/>
              </a:ext>
            </a:extLst>
          </p:cNvPr>
          <p:cNvSpPr>
            <a:spLocks noGrp="1"/>
          </p:cNvSpPr>
          <p:nvPr>
            <p:ph type="title" hasCustomPrompt="1"/>
          </p:nvPr>
        </p:nvSpPr>
        <p:spPr/>
        <p:txBody>
          <a:bodyPr/>
          <a:lstStyle>
            <a:lvl1pPr>
              <a:defRPr>
                <a:solidFill>
                  <a:schemeClr val="bg2"/>
                </a:solidFill>
              </a:defRPr>
            </a:lvl1pPr>
          </a:lstStyle>
          <a:p>
            <a:r>
              <a:rPr lang="fr-FR" err="1"/>
              <a:t>Title</a:t>
            </a:r>
            <a:r>
              <a:rPr lang="fr-FR"/>
              <a:t> of the slide</a:t>
            </a:r>
          </a:p>
        </p:txBody>
      </p:sp>
    </p:spTree>
    <p:extLst>
      <p:ext uri="{BB962C8B-B14F-4D97-AF65-F5344CB8AC3E}">
        <p14:creationId xmlns:p14="http://schemas.microsoft.com/office/powerpoint/2010/main" val="2806967878"/>
      </p:ext>
    </p:extLst>
  </p:cSld>
  <p:clrMapOvr>
    <a:masterClrMapping/>
  </p:clrMapOvr>
  <p:extLst>
    <p:ext uri="{DCECCB84-F9BA-43D5-87BE-67443E8EF086}">
      <p15:sldGuideLst xmlns:p15="http://schemas.microsoft.com/office/powerpoint/2012/main">
        <p15:guide id="1" pos="248">
          <p15:clr>
            <a:srgbClr val="F26B43"/>
          </p15:clr>
        </p15:guide>
        <p15:guide id="2" pos="7428">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Verbatim blue">
    <p:spTree>
      <p:nvGrpSpPr>
        <p:cNvPr id="1" name=""/>
        <p:cNvGrpSpPr/>
        <p:nvPr/>
      </p:nvGrpSpPr>
      <p:grpSpPr>
        <a:xfrm>
          <a:off x="0" y="0"/>
          <a:ext cx="0" cy="0"/>
          <a:chOff x="0" y="0"/>
          <a:chExt cx="0" cy="0"/>
        </a:xfrm>
      </p:grpSpPr>
      <p:graphicFrame>
        <p:nvGraphicFramePr>
          <p:cNvPr id="5" name="Objet 2" hidden="1">
            <a:extLst>
              <a:ext uri="{FF2B5EF4-FFF2-40B4-BE49-F238E27FC236}">
                <a16:creationId xmlns:a16="http://schemas.microsoft.com/office/drawing/2014/main" id="{2DC513A4-F2E7-4086-B108-AEA3E0C9E31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0" name="Diapositive think-cell" r:id="rId5" imgW="360" imgH="360" progId="TCLayout.ActiveDocument.1">
                  <p:embed/>
                </p:oleObj>
              </mc:Choice>
              <mc:Fallback>
                <p:oleObj name="Diapositive think-cell" r:id="rId5" imgW="360" imgH="360" progId="TCLayout.ActiveDocument.1">
                  <p:embed/>
                  <p:pic>
                    <p:nvPicPr>
                      <p:cNvPr id="5" name="Objet 2" hidden="1">
                        <a:extLst>
                          <a:ext uri="{FF2B5EF4-FFF2-40B4-BE49-F238E27FC236}">
                            <a16:creationId xmlns:a16="http://schemas.microsoft.com/office/drawing/2014/main" id="{2DC513A4-F2E7-4086-B108-AEA3E0C9E31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hidden="1">
            <a:extLst>
              <a:ext uri="{FF2B5EF4-FFF2-40B4-BE49-F238E27FC236}">
                <a16:creationId xmlns:a16="http://schemas.microsoft.com/office/drawing/2014/main" id="{D7F108B5-26C8-4731-9E65-7EDFF8135A2B}"/>
              </a:ext>
            </a:extLst>
          </p:cNvPr>
          <p:cNvSpPr/>
          <p:nvPr>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eaLnBrk="1" fontAlgn="auto" hangingPunct="1">
              <a:spcBef>
                <a:spcPts val="0"/>
              </a:spcBef>
              <a:spcAft>
                <a:spcPts val="0"/>
              </a:spcAft>
              <a:defRPr/>
            </a:pPr>
            <a:endParaRPr lang="en-GB" sz="2800" b="1" dirty="0">
              <a:latin typeface="Arial Black" panose="020B0A04020102020204" pitchFamily="34" charset="0"/>
              <a:ea typeface="+mj-ea"/>
              <a:cs typeface="+mj-cs"/>
              <a:sym typeface="Arial Black" panose="020B0A04020102020204" pitchFamily="34" charset="0"/>
            </a:endParaRPr>
          </a:p>
        </p:txBody>
      </p:sp>
      <p:grpSp>
        <p:nvGrpSpPr>
          <p:cNvPr id="7" name="Group 10">
            <a:extLst>
              <a:ext uri="{FF2B5EF4-FFF2-40B4-BE49-F238E27FC236}">
                <a16:creationId xmlns:a16="http://schemas.microsoft.com/office/drawing/2014/main" id="{E2B7E502-19EA-4871-95AC-272A3D54EB0E}"/>
              </a:ext>
            </a:extLst>
          </p:cNvPr>
          <p:cNvGrpSpPr>
            <a:grpSpLocks/>
          </p:cNvGrpSpPr>
          <p:nvPr/>
        </p:nvGrpSpPr>
        <p:grpSpPr bwMode="auto">
          <a:xfrm rot="10800000" flipH="1">
            <a:off x="701006" y="1494906"/>
            <a:ext cx="1299066" cy="1063368"/>
            <a:chOff x="1033" y="1117"/>
            <a:chExt cx="1907" cy="1561"/>
          </a:xfrm>
          <a:solidFill>
            <a:schemeClr val="bg2"/>
          </a:solidFill>
        </p:grpSpPr>
        <p:sp>
          <p:nvSpPr>
            <p:cNvPr id="8" name="Freeform 11">
              <a:extLst>
                <a:ext uri="{FF2B5EF4-FFF2-40B4-BE49-F238E27FC236}">
                  <a16:creationId xmlns:a16="http://schemas.microsoft.com/office/drawing/2014/main" id="{FDF8EFED-0851-4237-9CC3-337A3D5E3252}"/>
                </a:ext>
              </a:extLst>
            </p:cNvPr>
            <p:cNvSpPr>
              <a:spLocks/>
            </p:cNvSpPr>
            <p:nvPr/>
          </p:nvSpPr>
          <p:spPr bwMode="auto">
            <a:xfrm>
              <a:off x="1033" y="1117"/>
              <a:ext cx="932" cy="1548"/>
            </a:xfrm>
            <a:custGeom>
              <a:avLst/>
              <a:gdLst>
                <a:gd name="T0" fmla="*/ 409 w 444"/>
                <a:gd name="T1" fmla="*/ 324 h 737"/>
                <a:gd name="T2" fmla="*/ 257 w 444"/>
                <a:gd name="T3" fmla="*/ 270 h 737"/>
                <a:gd name="T4" fmla="*/ 130 w 444"/>
                <a:gd name="T5" fmla="*/ 326 h 737"/>
                <a:gd name="T6" fmla="*/ 366 w 444"/>
                <a:gd name="T7" fmla="*/ 45 h 737"/>
                <a:gd name="T8" fmla="*/ 338 w 444"/>
                <a:gd name="T9" fmla="*/ 0 h 737"/>
                <a:gd name="T10" fmla="*/ 19 w 444"/>
                <a:gd name="T11" fmla="*/ 489 h 737"/>
                <a:gd name="T12" fmla="*/ 276 w 444"/>
                <a:gd name="T13" fmla="*/ 730 h 737"/>
                <a:gd name="T14" fmla="*/ 444 w 444"/>
                <a:gd name="T15" fmla="*/ 634 h 737"/>
                <a:gd name="T16" fmla="*/ 391 w 444"/>
                <a:gd name="T17" fmla="*/ 493 h 737"/>
                <a:gd name="T18" fmla="*/ 409 w 444"/>
                <a:gd name="T19" fmla="*/ 324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44" h="737">
                  <a:moveTo>
                    <a:pt x="409" y="324"/>
                  </a:moveTo>
                  <a:cubicBezTo>
                    <a:pt x="369" y="287"/>
                    <a:pt x="316" y="265"/>
                    <a:pt x="257" y="270"/>
                  </a:cubicBezTo>
                  <a:cubicBezTo>
                    <a:pt x="198" y="274"/>
                    <a:pt x="177" y="291"/>
                    <a:pt x="130" y="326"/>
                  </a:cubicBezTo>
                  <a:cubicBezTo>
                    <a:pt x="131" y="213"/>
                    <a:pt x="302" y="76"/>
                    <a:pt x="366" y="45"/>
                  </a:cubicBezTo>
                  <a:cubicBezTo>
                    <a:pt x="366" y="45"/>
                    <a:pt x="350" y="18"/>
                    <a:pt x="338" y="0"/>
                  </a:cubicBezTo>
                  <a:cubicBezTo>
                    <a:pt x="192" y="30"/>
                    <a:pt x="0" y="231"/>
                    <a:pt x="19" y="489"/>
                  </a:cubicBezTo>
                  <a:cubicBezTo>
                    <a:pt x="32" y="657"/>
                    <a:pt x="182" y="737"/>
                    <a:pt x="276" y="730"/>
                  </a:cubicBezTo>
                  <a:cubicBezTo>
                    <a:pt x="332" y="726"/>
                    <a:pt x="401" y="693"/>
                    <a:pt x="444" y="634"/>
                  </a:cubicBezTo>
                  <a:cubicBezTo>
                    <a:pt x="416" y="598"/>
                    <a:pt x="396" y="551"/>
                    <a:pt x="391" y="493"/>
                  </a:cubicBezTo>
                  <a:cubicBezTo>
                    <a:pt x="387" y="433"/>
                    <a:pt x="394" y="376"/>
                    <a:pt x="409" y="3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sp>
          <p:nvSpPr>
            <p:cNvPr id="9" name="Freeform 12">
              <a:extLst>
                <a:ext uri="{FF2B5EF4-FFF2-40B4-BE49-F238E27FC236}">
                  <a16:creationId xmlns:a16="http://schemas.microsoft.com/office/drawing/2014/main" id="{5802DF49-E6B2-432E-BEEC-7C161273885B}"/>
                </a:ext>
              </a:extLst>
            </p:cNvPr>
            <p:cNvSpPr>
              <a:spLocks/>
            </p:cNvSpPr>
            <p:nvPr/>
          </p:nvSpPr>
          <p:spPr bwMode="auto">
            <a:xfrm>
              <a:off x="1895" y="1130"/>
              <a:ext cx="1045" cy="1548"/>
            </a:xfrm>
            <a:custGeom>
              <a:avLst/>
              <a:gdLst>
                <a:gd name="T0" fmla="*/ 487 w 498"/>
                <a:gd name="T1" fmla="*/ 485 h 737"/>
                <a:gd name="T2" fmla="*/ 257 w 498"/>
                <a:gd name="T3" fmla="*/ 270 h 737"/>
                <a:gd name="T4" fmla="*/ 129 w 498"/>
                <a:gd name="T5" fmla="*/ 326 h 737"/>
                <a:gd name="T6" fmla="*/ 366 w 498"/>
                <a:gd name="T7" fmla="*/ 45 h 737"/>
                <a:gd name="T8" fmla="*/ 337 w 498"/>
                <a:gd name="T9" fmla="*/ 0 h 737"/>
                <a:gd name="T10" fmla="*/ 19 w 498"/>
                <a:gd name="T11" fmla="*/ 488 h 737"/>
                <a:gd name="T12" fmla="*/ 276 w 498"/>
                <a:gd name="T13" fmla="*/ 730 h 737"/>
                <a:gd name="T14" fmla="*/ 487 w 498"/>
                <a:gd name="T15" fmla="*/ 485 h 7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8" h="737">
                  <a:moveTo>
                    <a:pt x="487" y="485"/>
                  </a:moveTo>
                  <a:cubicBezTo>
                    <a:pt x="478" y="369"/>
                    <a:pt x="382" y="260"/>
                    <a:pt x="257" y="270"/>
                  </a:cubicBezTo>
                  <a:cubicBezTo>
                    <a:pt x="197" y="274"/>
                    <a:pt x="177" y="291"/>
                    <a:pt x="129" y="326"/>
                  </a:cubicBezTo>
                  <a:cubicBezTo>
                    <a:pt x="130" y="213"/>
                    <a:pt x="302" y="76"/>
                    <a:pt x="366" y="45"/>
                  </a:cubicBezTo>
                  <a:cubicBezTo>
                    <a:pt x="366" y="45"/>
                    <a:pt x="349" y="18"/>
                    <a:pt x="337" y="0"/>
                  </a:cubicBezTo>
                  <a:cubicBezTo>
                    <a:pt x="192" y="29"/>
                    <a:pt x="0" y="231"/>
                    <a:pt x="19" y="488"/>
                  </a:cubicBezTo>
                  <a:cubicBezTo>
                    <a:pt x="32" y="657"/>
                    <a:pt x="182" y="737"/>
                    <a:pt x="276" y="730"/>
                  </a:cubicBezTo>
                  <a:cubicBezTo>
                    <a:pt x="369" y="723"/>
                    <a:pt x="498" y="635"/>
                    <a:pt x="487" y="4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fr-FR" dirty="0">
                <a:latin typeface="GT America" panose="00000500000000000000" pitchFamily="50" charset="0"/>
              </a:endParaRPr>
            </a:p>
          </p:txBody>
        </p:sp>
      </p:gr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p:nvPr>
        </p:nvSpPr>
        <p:spPr>
          <a:xfrm>
            <a:off x="2351088" y="1494906"/>
            <a:ext cx="9436100" cy="2636591"/>
          </a:xfrm>
          <a:prstGeom prst="rect">
            <a:avLst/>
          </a:prstGeom>
        </p:spPr>
        <p:txBody>
          <a:bodyPr anchor="b">
            <a:normAutofit/>
          </a:bodyPr>
          <a:lstStyle>
            <a:lvl1pPr marL="0" indent="0">
              <a:buNone/>
              <a:defRPr sz="2800">
                <a:solidFill>
                  <a:schemeClr val="bg2"/>
                </a:solidFill>
                <a:latin typeface="GT America" panose="00000500000000000000" pitchFamily="50" charset="0"/>
              </a:defRPr>
            </a:lvl1pPr>
          </a:lstStyle>
          <a:p>
            <a:pPr lvl="0"/>
            <a:r>
              <a:rPr lang="en-US" dirty="0"/>
              <a:t>Click to edit Master text styles</a:t>
            </a:r>
          </a:p>
        </p:txBody>
      </p:sp>
      <p:sp>
        <p:nvSpPr>
          <p:cNvPr id="24" name="Espace réservé du texte 20">
            <a:extLst>
              <a:ext uri="{FF2B5EF4-FFF2-40B4-BE49-F238E27FC236}">
                <a16:creationId xmlns:a16="http://schemas.microsoft.com/office/drawing/2014/main" id="{6B6F846B-8F0A-42EC-8144-B2B9983BA972}"/>
              </a:ext>
            </a:extLst>
          </p:cNvPr>
          <p:cNvSpPr>
            <a:spLocks noGrp="1"/>
          </p:cNvSpPr>
          <p:nvPr>
            <p:ph type="body" sz="quarter" idx="16"/>
          </p:nvPr>
        </p:nvSpPr>
        <p:spPr>
          <a:xfrm>
            <a:off x="2351088" y="4236285"/>
            <a:ext cx="9436100" cy="338554"/>
          </a:xfrm>
          <a:prstGeom prst="rect">
            <a:avLst/>
          </a:prstGeom>
        </p:spPr>
        <p:txBody>
          <a:bodyPr anchor="b">
            <a:spAutoFit/>
          </a:bodyPr>
          <a:lstStyle>
            <a:lvl1pPr marL="0" indent="0" algn="r">
              <a:buNone/>
              <a:defRPr sz="1600" b="1">
                <a:solidFill>
                  <a:schemeClr val="tx1"/>
                </a:solidFill>
                <a:latin typeface="GT America" panose="00000500000000000000" pitchFamily="50" charset="0"/>
              </a:defRPr>
            </a:lvl1pPr>
          </a:lstStyle>
          <a:p>
            <a:pPr lvl="0"/>
            <a:r>
              <a:rPr lang="en-US" dirty="0"/>
              <a:t>Click to edit Master text styles</a:t>
            </a:r>
          </a:p>
        </p:txBody>
      </p:sp>
      <p:sp>
        <p:nvSpPr>
          <p:cNvPr id="4" name="Titre 3">
            <a:extLst>
              <a:ext uri="{FF2B5EF4-FFF2-40B4-BE49-F238E27FC236}">
                <a16:creationId xmlns:a16="http://schemas.microsoft.com/office/drawing/2014/main" id="{9F4AF75B-C07F-40D0-9789-3B7669A97432}"/>
              </a:ext>
            </a:extLst>
          </p:cNvPr>
          <p:cNvSpPr>
            <a:spLocks noGrp="1"/>
          </p:cNvSpPr>
          <p:nvPr>
            <p:ph type="title"/>
          </p:nvPr>
        </p:nvSpPr>
        <p:spPr/>
        <p:txBody>
          <a:bodyPr/>
          <a:lstStyle>
            <a:lvl1pPr>
              <a:defRPr/>
            </a:lvl1pPr>
          </a:lstStyle>
          <a:p>
            <a:r>
              <a:rPr lang="en-US"/>
              <a:t>Click to edit Master title style</a:t>
            </a:r>
            <a:endParaRPr lang="fr-FR"/>
          </a:p>
        </p:txBody>
      </p:sp>
      <p:sp>
        <p:nvSpPr>
          <p:cNvPr id="11" name="Espace réservé du numéro de diapositive 8">
            <a:extLst>
              <a:ext uri="{FF2B5EF4-FFF2-40B4-BE49-F238E27FC236}">
                <a16:creationId xmlns:a16="http://schemas.microsoft.com/office/drawing/2014/main" id="{E4C4B00B-5367-4FFF-8FBB-E72BAB35EA09}"/>
              </a:ext>
            </a:extLst>
          </p:cNvPr>
          <p:cNvSpPr>
            <a:spLocks noGrp="1"/>
          </p:cNvSpPr>
          <p:nvPr>
            <p:ph type="sldNum" sz="quarter" idx="17"/>
          </p:nvPr>
        </p:nvSpPr>
        <p:spPr/>
        <p:txBody>
          <a:bodyPr/>
          <a:lstStyle>
            <a:lvl1pPr>
              <a:defRPr/>
            </a:lvl1pPr>
          </a:lstStyle>
          <a:p>
            <a:pPr>
              <a:defRPr/>
            </a:pPr>
            <a:fld id="{B6792039-0C1A-4BCB-8653-7596575E33E5}" type="slidenum">
              <a:rPr lang="en-GB"/>
              <a:pPr>
                <a:defRPr/>
              </a:pPr>
              <a:t>‹#›</a:t>
            </a:fld>
            <a:r>
              <a:rPr lang="en-GB" dirty="0"/>
              <a:t> ‒ </a:t>
            </a:r>
          </a:p>
        </p:txBody>
      </p:sp>
    </p:spTree>
    <p:extLst>
      <p:ext uri="{BB962C8B-B14F-4D97-AF65-F5344CB8AC3E}">
        <p14:creationId xmlns:p14="http://schemas.microsoft.com/office/powerpoint/2010/main" val="12018490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6" name="Text Placeholder 5">
            <a:extLst>
              <a:ext uri="{FF2B5EF4-FFF2-40B4-BE49-F238E27FC236}">
                <a16:creationId xmlns:a16="http://schemas.microsoft.com/office/drawing/2014/main" id="{7805E0ED-9B35-4F72-BE54-C87A2C1BD5BE}"/>
              </a:ext>
            </a:extLst>
          </p:cNvPr>
          <p:cNvSpPr>
            <a:spLocks noGrp="1"/>
          </p:cNvSpPr>
          <p:nvPr>
            <p:ph type="body" sz="quarter" idx="11"/>
          </p:nvPr>
        </p:nvSpPr>
        <p:spPr>
          <a:xfrm>
            <a:off x="404813" y="1204913"/>
            <a:ext cx="11382375" cy="4794250"/>
          </a:xfrm>
          <a:prstGeom prst="rect">
            <a:avLst/>
          </a:prstGeom>
        </p:spPr>
        <p:txBody>
          <a:bodyPr/>
          <a:lstStyle>
            <a:lvl1pPr marL="401638" indent="-401638">
              <a:lnSpc>
                <a:spcPct val="150000"/>
              </a:lnSpc>
              <a:buClr>
                <a:schemeClr val="tx2">
                  <a:lumMod val="75000"/>
                </a:schemeClr>
              </a:buClr>
              <a:buSzPct val="125000"/>
              <a:buFont typeface="Wingdings" panose="05000000000000000000" pitchFamily="2" charset="2"/>
              <a:buChar char="§"/>
              <a:defRPr sz="2000">
                <a:solidFill>
                  <a:schemeClr val="bg2"/>
                </a:solidFill>
                <a:latin typeface="GT America" panose="00000500000000000000" pitchFamily="50" charset="0"/>
              </a:defRPr>
            </a:lvl1pPr>
            <a:lvl2pPr marL="747713" indent="-346075">
              <a:buClr>
                <a:schemeClr val="bg2"/>
              </a:buClr>
              <a:buSzPct val="125000"/>
              <a:defRPr>
                <a:solidFill>
                  <a:schemeClr val="bg2"/>
                </a:solidFill>
                <a:latin typeface="GT America" panose="00000500000000000000" pitchFamily="50" charset="0"/>
              </a:defRPr>
            </a:lvl2pPr>
            <a:lvl3pPr marL="1025525" indent="-222250">
              <a:defRPr>
                <a:solidFill>
                  <a:schemeClr val="bg2"/>
                </a:solidFill>
                <a:latin typeface="GT America" panose="00000500000000000000" pitchFamily="50" charset="0"/>
              </a:defRPr>
            </a:lvl3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769948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ED2E33-5E9D-4E40-9505-700C504888E5}"/>
              </a:ext>
            </a:extLst>
          </p:cNvPr>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Slide Number Placeholder 2">
            <a:extLst>
              <a:ext uri="{FF2B5EF4-FFF2-40B4-BE49-F238E27FC236}">
                <a16:creationId xmlns:a16="http://schemas.microsoft.com/office/drawing/2014/main" id="{BA0DB66A-2740-4EEC-A11C-7D8FFFF4FB67}"/>
              </a:ext>
            </a:extLst>
          </p:cNvPr>
          <p:cNvSpPr>
            <a:spLocks noGrp="1"/>
          </p:cNvSpPr>
          <p:nvPr>
            <p:ph type="sldNum" sz="quarter" idx="10"/>
          </p:nvPr>
        </p:nvSpPr>
        <p:spPr/>
        <p:txBody>
          <a:bodyPr/>
          <a:lstStyle/>
          <a:p>
            <a:fld id="{F73BA400-75BE-45F2-9E46-345C1733B6B3}" type="slidenum">
              <a:rPr lang="en-US" smtClean="0"/>
              <a:t>‹#›</a:t>
            </a:fld>
            <a:endParaRPr lang="en-US" dirty="0"/>
          </a:p>
        </p:txBody>
      </p:sp>
      <p:sp>
        <p:nvSpPr>
          <p:cNvPr id="5" name="Chart Placeholder 4">
            <a:extLst>
              <a:ext uri="{FF2B5EF4-FFF2-40B4-BE49-F238E27FC236}">
                <a16:creationId xmlns:a16="http://schemas.microsoft.com/office/drawing/2014/main" id="{0FDAA1D8-453A-4ECA-9ACA-85A13C9211AF}"/>
              </a:ext>
            </a:extLst>
          </p:cNvPr>
          <p:cNvSpPr>
            <a:spLocks noGrp="1"/>
          </p:cNvSpPr>
          <p:nvPr>
            <p:ph type="chart" sz="quarter" idx="12"/>
          </p:nvPr>
        </p:nvSpPr>
        <p:spPr>
          <a:xfrm>
            <a:off x="404786" y="2243379"/>
            <a:ext cx="9071723" cy="3546762"/>
          </a:xfrm>
          <a:prstGeom prst="rect">
            <a:avLst/>
          </a:prstGeom>
        </p:spPr>
        <p:txBody>
          <a:bodyPr/>
          <a:lstStyle>
            <a:lvl1pPr>
              <a:defRPr>
                <a:solidFill>
                  <a:schemeClr val="tx1"/>
                </a:solidFill>
                <a:latin typeface="GT America" panose="00000500000000000000" pitchFamily="50" charset="0"/>
              </a:defRPr>
            </a:lvl1pPr>
          </a:lstStyle>
          <a:p>
            <a:endParaRPr lang="en-US" dirty="0"/>
          </a:p>
        </p:txBody>
      </p:sp>
      <p:sp>
        <p:nvSpPr>
          <p:cNvPr id="9" name="Text Placeholder 8">
            <a:extLst>
              <a:ext uri="{FF2B5EF4-FFF2-40B4-BE49-F238E27FC236}">
                <a16:creationId xmlns:a16="http://schemas.microsoft.com/office/drawing/2014/main" id="{7263068B-0C74-4925-811A-8221381A0D0E}"/>
              </a:ext>
            </a:extLst>
          </p:cNvPr>
          <p:cNvSpPr>
            <a:spLocks noGrp="1"/>
          </p:cNvSpPr>
          <p:nvPr>
            <p:ph type="body" sz="quarter" idx="13"/>
          </p:nvPr>
        </p:nvSpPr>
        <p:spPr>
          <a:xfrm>
            <a:off x="9822441" y="2133600"/>
            <a:ext cx="1743075" cy="1993900"/>
          </a:xfrm>
          <a:prstGeom prst="rect">
            <a:avLst/>
          </a:prstGeom>
        </p:spPr>
        <p:txBody>
          <a:bodyPr/>
          <a:lstStyle>
            <a:lvl1pPr>
              <a:defRPr sz="1400" b="1" i="1">
                <a:solidFill>
                  <a:schemeClr val="bg1">
                    <a:lumMod val="50000"/>
                  </a:schemeClr>
                </a:solidFill>
                <a:latin typeface="GT America" panose="00000500000000000000" pitchFamily="50" charset="0"/>
              </a:defRPr>
            </a:lvl1pPr>
          </a:lstStyle>
          <a:p>
            <a:pPr lvl="0"/>
            <a:r>
              <a:rPr lang="en-US" dirty="0"/>
              <a:t>Click to edit Master text styles</a:t>
            </a:r>
          </a:p>
        </p:txBody>
      </p:sp>
      <p:sp>
        <p:nvSpPr>
          <p:cNvPr id="12" name="Text Placeholder 11">
            <a:extLst>
              <a:ext uri="{FF2B5EF4-FFF2-40B4-BE49-F238E27FC236}">
                <a16:creationId xmlns:a16="http://schemas.microsoft.com/office/drawing/2014/main" id="{8DBE5432-45A3-480F-8730-0FFF2CCCFDF3}"/>
              </a:ext>
            </a:extLst>
          </p:cNvPr>
          <p:cNvSpPr>
            <a:spLocks noGrp="1"/>
          </p:cNvSpPr>
          <p:nvPr>
            <p:ph type="body" sz="quarter" idx="14"/>
          </p:nvPr>
        </p:nvSpPr>
        <p:spPr>
          <a:xfrm>
            <a:off x="382588" y="1207325"/>
            <a:ext cx="9072562" cy="606961"/>
          </a:xfrm>
          <a:prstGeom prst="rect">
            <a:avLst/>
          </a:prstGeom>
        </p:spPr>
        <p:txBody>
          <a:bodyPr/>
          <a:lstStyle>
            <a:lvl1pPr>
              <a:defRPr>
                <a:solidFill>
                  <a:schemeClr val="accent1"/>
                </a:solidFill>
                <a:latin typeface="GT America" panose="000005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1440306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1_End">
    <p:bg>
      <p:bgPr>
        <a:solidFill>
          <a:schemeClr val="bg2"/>
        </a:solidFill>
        <a:effectLst/>
      </p:bgPr>
    </p:bg>
    <p:spTree>
      <p:nvGrpSpPr>
        <p:cNvPr id="1" name=""/>
        <p:cNvGrpSpPr/>
        <p:nvPr/>
      </p:nvGrpSpPr>
      <p:grpSpPr>
        <a:xfrm>
          <a:off x="0" y="0"/>
          <a:ext cx="0" cy="0"/>
          <a:chOff x="0" y="0"/>
          <a:chExt cx="0" cy="0"/>
        </a:xfrm>
      </p:grpSpPr>
      <p:graphicFrame>
        <p:nvGraphicFramePr>
          <p:cNvPr id="2" name="Objet 2" hidden="1">
            <a:extLst>
              <a:ext uri="{FF2B5EF4-FFF2-40B4-BE49-F238E27FC236}">
                <a16:creationId xmlns:a16="http://schemas.microsoft.com/office/drawing/2014/main" id="{5BA57296-2441-4B84-9B20-D1D2AFA99D9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2" name="Diapositive think-cell" r:id="rId4" imgW="360" imgH="360" progId="TCLayout.ActiveDocument.1">
                  <p:embed/>
                </p:oleObj>
              </mc:Choice>
              <mc:Fallback>
                <p:oleObj name="Diapositive think-cell" r:id="rId4" imgW="360" imgH="360" progId="TCLayout.ActiveDocument.1">
                  <p:embed/>
                  <p:pic>
                    <p:nvPicPr>
                      <p:cNvPr id="2" name="Objet 2" hidden="1">
                        <a:extLst>
                          <a:ext uri="{FF2B5EF4-FFF2-40B4-BE49-F238E27FC236}">
                            <a16:creationId xmlns:a16="http://schemas.microsoft.com/office/drawing/2014/main" id="{5BA57296-2441-4B84-9B20-D1D2AFA99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Forme libre : forme 28">
            <a:extLst>
              <a:ext uri="{FF2B5EF4-FFF2-40B4-BE49-F238E27FC236}">
                <a16:creationId xmlns:a16="http://schemas.microsoft.com/office/drawing/2014/main" id="{61996D0A-E77C-4625-AD3F-24F67525DE21}"/>
              </a:ext>
            </a:extLst>
          </p:cNvPr>
          <p:cNvSpPr/>
          <p:nvPr/>
        </p:nvSpPr>
        <p:spPr>
          <a:xfrm rot="18932423">
            <a:off x="2100263" y="2820988"/>
            <a:ext cx="11031537" cy="1216025"/>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sp>
        <p:nvSpPr>
          <p:cNvPr id="4" name="Forme libre : forme 30">
            <a:extLst>
              <a:ext uri="{FF2B5EF4-FFF2-40B4-BE49-F238E27FC236}">
                <a16:creationId xmlns:a16="http://schemas.microsoft.com/office/drawing/2014/main" id="{F6BB68FA-8B5A-4DC4-84AB-77375FA9380B}"/>
              </a:ext>
            </a:extLst>
          </p:cNvPr>
          <p:cNvSpPr/>
          <p:nvPr/>
        </p:nvSpPr>
        <p:spPr>
          <a:xfrm rot="18932423">
            <a:off x="4730750" y="3460750"/>
            <a:ext cx="9204325" cy="1216025"/>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latin typeface="GT America" panose="00000500000000000000" pitchFamily="50" charset="0"/>
            </a:endParaRPr>
          </a:p>
        </p:txBody>
      </p:sp>
      <p:pic>
        <p:nvPicPr>
          <p:cNvPr id="6" name="Graphique 12">
            <a:extLst>
              <a:ext uri="{FF2B5EF4-FFF2-40B4-BE49-F238E27FC236}">
                <a16:creationId xmlns:a16="http://schemas.microsoft.com/office/drawing/2014/main" id="{73949431-DCA9-4C33-8E03-1D79CDCF537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729913" y="5359400"/>
            <a:ext cx="863600" cy="790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adre 7">
            <a:extLst>
              <a:ext uri="{FF2B5EF4-FFF2-40B4-BE49-F238E27FC236}">
                <a16:creationId xmlns:a16="http://schemas.microsoft.com/office/drawing/2014/main" id="{DDDF747C-816F-4F02-A07C-6326DAFE5D33}"/>
              </a:ext>
            </a:extLst>
          </p:cNvPr>
          <p:cNvSpPr/>
          <p:nvPr/>
        </p:nvSpPr>
        <p:spPr>
          <a:xfrm>
            <a:off x="0" y="0"/>
            <a:ext cx="12192000" cy="6858000"/>
          </a:xfrm>
          <a:prstGeom prst="frame">
            <a:avLst>
              <a:gd name="adj1" fmla="val 1656"/>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GB" dirty="0">
              <a:solidFill>
                <a:schemeClr val="tx1"/>
              </a:solidFill>
              <a:latin typeface="GT America" panose="00000500000000000000" pitchFamily="50" charset="0"/>
            </a:endParaRPr>
          </a:p>
        </p:txBody>
      </p:sp>
    </p:spTree>
    <p:extLst>
      <p:ext uri="{BB962C8B-B14F-4D97-AF65-F5344CB8AC3E}">
        <p14:creationId xmlns:p14="http://schemas.microsoft.com/office/powerpoint/2010/main" val="33090890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A48014-8CBF-4B3D-989F-618C4B189C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F78023C-01B7-4D04-AAAE-2CD97F9C3E5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D294CF3-0D25-4E71-9449-DC8071D0DF4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4D89B4F-22BB-4C2E-9D67-8727AF29BC67}"/>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6" name="Footer Placeholder 5">
            <a:extLst>
              <a:ext uri="{FF2B5EF4-FFF2-40B4-BE49-F238E27FC236}">
                <a16:creationId xmlns:a16="http://schemas.microsoft.com/office/drawing/2014/main" id="{0F351D1A-AC09-493D-A676-28A6A6DC27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6364A6-8C46-4AFC-B4DF-E4AC07FB7FE7}"/>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2714918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E975D6-31F3-438A-80CE-8AD731BC39B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A596B84-59C5-4040-B485-E55E793B35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F7C308A-A24A-42BA-A5AB-A381FE1BEE3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5F60C23-2724-472F-8788-2F13BBEF1E74}"/>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40F92B-AF75-46DB-8FD2-CB712717344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B7A95A2-5B3C-4ABF-8C7C-67212959103E}"/>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8" name="Footer Placeholder 7">
            <a:extLst>
              <a:ext uri="{FF2B5EF4-FFF2-40B4-BE49-F238E27FC236}">
                <a16:creationId xmlns:a16="http://schemas.microsoft.com/office/drawing/2014/main" id="{5683213C-BD44-48BC-8C95-5876C8B5092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B8DB52B-E6BA-4468-82CC-4F1F55408802}"/>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3686839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09FA7-B48A-4A41-B7E5-BC91280E7EC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08756CB7-6408-4AD0-BC3A-8B6CD09165A6}"/>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4" name="Footer Placeholder 3">
            <a:extLst>
              <a:ext uri="{FF2B5EF4-FFF2-40B4-BE49-F238E27FC236}">
                <a16:creationId xmlns:a16="http://schemas.microsoft.com/office/drawing/2014/main" id="{F4B37261-C742-4AB1-8E88-96A78EB6890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0DF241A-B3B0-4313-A588-DBDD1F531B8D}"/>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41553952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1CF1B15-C30B-47F1-BA49-772CEA0227AD}"/>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3" name="Footer Placeholder 2">
            <a:extLst>
              <a:ext uri="{FF2B5EF4-FFF2-40B4-BE49-F238E27FC236}">
                <a16:creationId xmlns:a16="http://schemas.microsoft.com/office/drawing/2014/main" id="{5487563E-E682-4D67-AD91-7EA564C12AE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C6CCCE7-9444-40CC-A195-4572302CA856}"/>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4475312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C7AB0F-62B4-4F56-BD1D-6E179F9C67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5256436-701E-4800-9DFF-59B51531670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A1AC92A9-E40D-4B0D-AC05-4E150B44EC9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7B895BC-60E2-42D2-B4E7-A5EBD55E9FD2}"/>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6" name="Footer Placeholder 5">
            <a:extLst>
              <a:ext uri="{FF2B5EF4-FFF2-40B4-BE49-F238E27FC236}">
                <a16:creationId xmlns:a16="http://schemas.microsoft.com/office/drawing/2014/main" id="{057F5814-7C96-4CC3-9F48-6E0DC4249C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D983E06-52AD-4272-B410-5083D48D4DA5}"/>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26495110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3F7390-B25A-4B85-8DFB-6F94D6FF138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C1FBA5-164B-44E6-8AE7-18D0CD9E88A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D708064-4081-44C6-A1A0-4C02BB7444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6BC50F0-E261-41AC-B803-8E2F11C3ACE0}"/>
              </a:ext>
            </a:extLst>
          </p:cNvPr>
          <p:cNvSpPr>
            <a:spLocks noGrp="1"/>
          </p:cNvSpPr>
          <p:nvPr>
            <p:ph type="dt" sz="half" idx="10"/>
          </p:nvPr>
        </p:nvSpPr>
        <p:spPr/>
        <p:txBody>
          <a:bodyPr/>
          <a:lstStyle/>
          <a:p>
            <a:fld id="{4B5F62AD-DD1C-4E1F-9090-826A9AB2505A}" type="datetimeFigureOut">
              <a:rPr lang="en-US" smtClean="0"/>
              <a:t>3/24/2021</a:t>
            </a:fld>
            <a:endParaRPr lang="en-US"/>
          </a:p>
        </p:txBody>
      </p:sp>
      <p:sp>
        <p:nvSpPr>
          <p:cNvPr id="6" name="Footer Placeholder 5">
            <a:extLst>
              <a:ext uri="{FF2B5EF4-FFF2-40B4-BE49-F238E27FC236}">
                <a16:creationId xmlns:a16="http://schemas.microsoft.com/office/drawing/2014/main" id="{9BAEEB56-7C20-40CD-8BE3-097FDA4EC9B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4C35A88-A079-4A21-9FD6-769DD0A8B63E}"/>
              </a:ext>
            </a:extLst>
          </p:cNvPr>
          <p:cNvSpPr>
            <a:spLocks noGrp="1"/>
          </p:cNvSpPr>
          <p:nvPr>
            <p:ph type="sldNum" sz="quarter" idx="12"/>
          </p:nvPr>
        </p:nvSpPr>
        <p:spPr/>
        <p:txBody>
          <a:bodyPr/>
          <a:lstStyle/>
          <a:p>
            <a:fld id="{39D49DFF-0523-4CA2-9DCE-8C943A52CEA7}" type="slidenum">
              <a:rPr lang="en-US" smtClean="0"/>
              <a:t>‹#›</a:t>
            </a:fld>
            <a:endParaRPr lang="en-US"/>
          </a:p>
        </p:txBody>
      </p:sp>
    </p:spTree>
    <p:extLst>
      <p:ext uri="{BB962C8B-B14F-4D97-AF65-F5344CB8AC3E}">
        <p14:creationId xmlns:p14="http://schemas.microsoft.com/office/powerpoint/2010/main" val="1242179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sv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1.xml"/><Relationship Id="rId2" Type="http://schemas.openxmlformats.org/officeDocument/2006/relationships/slideLayout" Target="../slideLayouts/slideLayout25.xml"/><Relationship Id="rId16" Type="http://schemas.openxmlformats.org/officeDocument/2006/relationships/vmlDrawing" Target="../drawings/vmlDrawing1.vml"/><Relationship Id="rId20" Type="http://schemas.openxmlformats.org/officeDocument/2006/relationships/image" Target="../media/image3.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oleObject" Target="../embeddings/oleObject1.bin"/><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48987C6-585F-4CC0-86AA-836A9EBAB54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BA13E75-9937-4E65-8147-60F34F5696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48B6E46-C0BB-42B7-B403-6446C83F62D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B5F62AD-DD1C-4E1F-9090-826A9AB2505A}" type="datetimeFigureOut">
              <a:rPr lang="en-US" smtClean="0"/>
              <a:t>3/24/2021</a:t>
            </a:fld>
            <a:endParaRPr lang="en-US"/>
          </a:p>
        </p:txBody>
      </p:sp>
      <p:sp>
        <p:nvSpPr>
          <p:cNvPr id="5" name="Footer Placeholder 4">
            <a:extLst>
              <a:ext uri="{FF2B5EF4-FFF2-40B4-BE49-F238E27FC236}">
                <a16:creationId xmlns:a16="http://schemas.microsoft.com/office/drawing/2014/main" id="{BC7FD0B8-6A3F-42BB-ABEB-4914A12F8AAB}"/>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B48EA02-BC1C-4085-9419-51655E133B6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D49DFF-0523-4CA2-9DCE-8C943A52CEA7}" type="slidenum">
              <a:rPr lang="en-US" smtClean="0"/>
              <a:t>‹#›</a:t>
            </a:fld>
            <a:endParaRPr lang="en-US"/>
          </a:p>
        </p:txBody>
      </p:sp>
    </p:spTree>
    <p:extLst>
      <p:ext uri="{BB962C8B-B14F-4D97-AF65-F5344CB8AC3E}">
        <p14:creationId xmlns:p14="http://schemas.microsoft.com/office/powerpoint/2010/main" val="24935378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21364" y="1825625"/>
            <a:ext cx="11549269"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Date Placeholder 3"/>
          <p:cNvSpPr>
            <a:spLocks noGrp="1"/>
          </p:cNvSpPr>
          <p:nvPr>
            <p:ph type="dt" sz="half" idx="2"/>
          </p:nvPr>
        </p:nvSpPr>
        <p:spPr>
          <a:xfrm>
            <a:off x="321368"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GT America" panose="00000500000000000000" pitchFamily="50" charset="0"/>
              </a:defRPr>
            </a:lvl1pPr>
          </a:lstStyle>
          <a:p>
            <a:fld id="{F1A35A5B-9964-BA45-A1B5-FC54D9B083C3}" type="datetimeFigureOut">
              <a:rPr lang="en-US" smtClean="0"/>
              <a:pPr/>
              <a:t>3/24/2021</a:t>
            </a:fld>
            <a:endParaRPr lang="en-US" dirty="0"/>
          </a:p>
        </p:txBody>
      </p:sp>
      <p:sp>
        <p:nvSpPr>
          <p:cNvPr id="6" name="Slide Number Placeholder 5"/>
          <p:cNvSpPr>
            <a:spLocks noGrp="1"/>
          </p:cNvSpPr>
          <p:nvPr>
            <p:ph type="sldNum" sz="quarter" idx="4"/>
          </p:nvPr>
        </p:nvSpPr>
        <p:spPr>
          <a:xfrm>
            <a:off x="9127433"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GT America" panose="00000500000000000000" pitchFamily="50" charset="0"/>
              </a:defRPr>
            </a:lvl1pPr>
          </a:lstStyle>
          <a:p>
            <a:fld id="{53168429-B862-464C-A163-6879E3AA04C9}" type="slidenum">
              <a:rPr lang="en-US" smtClean="0"/>
              <a:pPr/>
              <a:t>‹#›</a:t>
            </a:fld>
            <a:endParaRPr lang="en-US" dirty="0"/>
          </a:p>
        </p:txBody>
      </p:sp>
      <p:sp>
        <p:nvSpPr>
          <p:cNvPr id="7" name="Rectangle 6">
            <a:extLst>
              <a:ext uri="{FF2B5EF4-FFF2-40B4-BE49-F238E27FC236}">
                <a16:creationId xmlns:a16="http://schemas.microsoft.com/office/drawing/2014/main" id="{4D09EED7-CC2C-CC47-8D30-1262C1E98083}"/>
              </a:ext>
            </a:extLst>
          </p:cNvPr>
          <p:cNvSpPr/>
          <p:nvPr userDrawn="1"/>
        </p:nvSpPr>
        <p:spPr>
          <a:xfrm>
            <a:off x="0" y="0"/>
            <a:ext cx="12192000" cy="369333"/>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8" name="Graphic 7">
            <a:extLst>
              <a:ext uri="{FF2B5EF4-FFF2-40B4-BE49-F238E27FC236}">
                <a16:creationId xmlns:a16="http://schemas.microsoft.com/office/drawing/2014/main" id="{C5B969B3-AC41-D847-9672-432B942B0778}"/>
              </a:ext>
            </a:extLst>
          </p:cNvPr>
          <p:cNvPicPr>
            <a:picLocks noChangeAspect="1"/>
          </p:cNvPicPr>
          <p:nvPr userDrawn="1"/>
        </p:nvPicPr>
        <p:blipFill>
          <a:blip r:embed="rId14">
            <a:extLst>
              <a:ext uri="{96DAC541-7B7A-43D3-8B79-37D633B846F1}">
                <asvg:svgBlip xmlns:asvg="http://schemas.microsoft.com/office/drawing/2016/SVG/main" r:embed="rId15"/>
              </a:ext>
            </a:extLst>
          </a:blip>
          <a:stretch>
            <a:fillRect/>
          </a:stretch>
        </p:blipFill>
        <p:spPr>
          <a:xfrm>
            <a:off x="321365" y="9938"/>
            <a:ext cx="1078185" cy="359395"/>
          </a:xfrm>
          <a:prstGeom prst="rect">
            <a:avLst/>
          </a:prstGeom>
        </p:spPr>
      </p:pic>
      <p:sp>
        <p:nvSpPr>
          <p:cNvPr id="9" name="Title Placeholder 8">
            <a:extLst>
              <a:ext uri="{FF2B5EF4-FFF2-40B4-BE49-F238E27FC236}">
                <a16:creationId xmlns:a16="http://schemas.microsoft.com/office/drawing/2014/main" id="{7E569843-5B08-664C-AB41-1E3E55B1821A}"/>
              </a:ext>
            </a:extLst>
          </p:cNvPr>
          <p:cNvSpPr>
            <a:spLocks noGrp="1"/>
          </p:cNvSpPr>
          <p:nvPr>
            <p:ph type="title"/>
          </p:nvPr>
        </p:nvSpPr>
        <p:spPr>
          <a:xfrm>
            <a:off x="321365" y="365125"/>
            <a:ext cx="11549270" cy="1325563"/>
          </a:xfrm>
          <a:prstGeom prst="rect">
            <a:avLst/>
          </a:prstGeom>
        </p:spPr>
        <p:txBody>
          <a:bodyPr vert="horz" lIns="91440" tIns="45720" rIns="91440" bIns="45720" rtlCol="0" anchor="ctr">
            <a:normAutofit/>
          </a:bodyPr>
          <a:lstStyle/>
          <a:p>
            <a:r>
              <a:rPr lang="en-US" dirty="0"/>
              <a:t>Click to edit Master title style</a:t>
            </a:r>
          </a:p>
        </p:txBody>
      </p:sp>
    </p:spTree>
    <p:extLst>
      <p:ext uri="{BB962C8B-B14F-4D97-AF65-F5344CB8AC3E}">
        <p14:creationId xmlns:p14="http://schemas.microsoft.com/office/powerpoint/2010/main" val="395740779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87" r:id="rId12"/>
  </p:sldLayoutIdLst>
  <p:txStyles>
    <p:titleStyle>
      <a:lvl1pPr algn="l" defTabSz="914400" rtl="0" eaLnBrk="1" latinLnBrk="0" hangingPunct="1">
        <a:lnSpc>
          <a:spcPct val="90000"/>
        </a:lnSpc>
        <a:spcBef>
          <a:spcPct val="0"/>
        </a:spcBef>
        <a:buNone/>
        <a:defRPr sz="3000" b="1" kern="1200">
          <a:solidFill>
            <a:srgbClr val="F4A62D"/>
          </a:solidFill>
          <a:latin typeface="GT America" panose="00000500000000000000" pitchFamily="50"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GT America" panose="00000500000000000000"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GT America" panose="00000500000000000000" pitchFamily="50"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T America" panose="00000500000000000000" pitchFamily="50"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T America" panose="00000500000000000000" pitchFamily="50"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t 7" hidden="1">
            <a:extLst>
              <a:ext uri="{FF2B5EF4-FFF2-40B4-BE49-F238E27FC236}">
                <a16:creationId xmlns:a16="http://schemas.microsoft.com/office/drawing/2014/main" id="{53EA1CA7-6A4B-4525-B31A-79FD8A5011E4}"/>
              </a:ext>
            </a:extLst>
          </p:cNvPr>
          <p:cNvGraphicFramePr>
            <a:graphicFrameLocks noChangeAspect="1"/>
          </p:cNvGraphicFramePr>
          <p:nvPr>
            <p:custDataLst>
              <p:tags r:id="rId17"/>
            </p:custDataLst>
            <p:extLst>
              <p:ext uri="{D42A27DB-BD31-4B8C-83A1-F6EECF244321}">
                <p14:modId xmlns:p14="http://schemas.microsoft.com/office/powerpoint/2010/main" val="1529803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Diapositive think-cell" r:id="rId19" imgW="532" imgH="530" progId="TCLayout.ActiveDocument.1">
                  <p:embed/>
                </p:oleObj>
              </mc:Choice>
              <mc:Fallback>
                <p:oleObj name="Diapositive think-cell" r:id="rId19" imgW="532" imgH="530" progId="TCLayout.ActiveDocument.1">
                  <p:embed/>
                  <p:pic>
                    <p:nvPicPr>
                      <p:cNvPr id="8" name="Objet 7" hidden="1">
                        <a:extLst>
                          <a:ext uri="{FF2B5EF4-FFF2-40B4-BE49-F238E27FC236}">
                            <a16:creationId xmlns:a16="http://schemas.microsoft.com/office/drawing/2014/main" id="{53EA1CA7-6A4B-4525-B31A-79FD8A5011E4}"/>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956D049D-4B41-45FE-A1DE-AB458A6C5C72}"/>
              </a:ext>
            </a:extLst>
          </p:cNvPr>
          <p:cNvSpPr/>
          <p:nvPr>
            <p:custDataLst>
              <p:tags r:id="rId18"/>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dirty="0">
              <a:latin typeface="Arial Black" panose="020B0A04020102020204" pitchFamily="34" charset="0"/>
              <a:ea typeface="+mj-ea"/>
              <a:cs typeface="+mj-cs"/>
              <a:sym typeface="Arial Black" panose="020B0A04020102020204" pitchFamily="34" charset="0"/>
            </a:endParaRPr>
          </a:p>
        </p:txBody>
      </p:sp>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04786" y="382816"/>
            <a:ext cx="11382428" cy="452432"/>
          </a:xfrm>
          <a:prstGeom prst="rect">
            <a:avLst/>
          </a:prstGeom>
        </p:spPr>
        <p:txBody>
          <a:bodyPr vert="horz" wrap="square" lIns="72000" tIns="45720" rIns="72000" bIns="45720" rtlCol="0" anchor="t">
            <a:spAutoFit/>
          </a:bodyPr>
          <a:lstStyle/>
          <a:p>
            <a:r>
              <a:rPr lang="en-GB"/>
              <a:t>Title of the slide</a:t>
            </a:r>
          </a:p>
        </p:txBody>
      </p:sp>
      <p:sp>
        <p:nvSpPr>
          <p:cNvPr id="6" name="Espace réservé du numéro de diapositive 5">
            <a:extLst>
              <a:ext uri="{FF2B5EF4-FFF2-40B4-BE49-F238E27FC236}">
                <a16:creationId xmlns:a16="http://schemas.microsoft.com/office/drawing/2014/main" id="{82FC3E58-D3FF-4715-9A44-E12BDE0AE046}"/>
              </a:ext>
            </a:extLst>
          </p:cNvPr>
          <p:cNvSpPr>
            <a:spLocks noGrp="1"/>
          </p:cNvSpPr>
          <p:nvPr>
            <p:ph type="sldNum" sz="quarter" idx="4"/>
          </p:nvPr>
        </p:nvSpPr>
        <p:spPr>
          <a:xfrm>
            <a:off x="382932" y="6219234"/>
            <a:ext cx="360037" cy="365125"/>
          </a:xfrm>
          <a:prstGeom prst="rect">
            <a:avLst/>
          </a:prstGeom>
        </p:spPr>
        <p:txBody>
          <a:bodyPr vert="horz" lIns="0" tIns="45720" rIns="0" bIns="45720" rtlCol="0" anchor="ctr"/>
          <a:lstStyle>
            <a:lvl1pPr algn="r">
              <a:defRPr sz="900" b="1">
                <a:solidFill>
                  <a:schemeClr val="bg1">
                    <a:lumMod val="95000"/>
                  </a:schemeClr>
                </a:solidFill>
                <a:latin typeface="+mj-lt"/>
              </a:defRPr>
            </a:lvl1pPr>
          </a:lstStyle>
          <a:p>
            <a:fld id="{F73BA400-75BE-45F2-9E46-345C1733B6B3}" type="slidenum">
              <a:rPr lang="en-US" smtClean="0"/>
              <a:pPr/>
              <a:t>‹#›</a:t>
            </a:fld>
            <a:endParaRPr lang="en-US" dirty="0"/>
          </a:p>
        </p:txBody>
      </p:sp>
      <p:sp>
        <p:nvSpPr>
          <p:cNvPr id="3" name="TextBox 2">
            <a:extLst>
              <a:ext uri="{FF2B5EF4-FFF2-40B4-BE49-F238E27FC236}">
                <a16:creationId xmlns:a16="http://schemas.microsoft.com/office/drawing/2014/main" id="{1E21FC63-12EF-43D8-B3C8-42CA3B9C290D}"/>
              </a:ext>
            </a:extLst>
          </p:cNvPr>
          <p:cNvSpPr txBox="1"/>
          <p:nvPr userDrawn="1"/>
        </p:nvSpPr>
        <p:spPr>
          <a:xfrm>
            <a:off x="10946920" y="6584359"/>
            <a:ext cx="1061049" cy="215444"/>
          </a:xfrm>
          <a:prstGeom prst="rect">
            <a:avLst/>
          </a:prstGeom>
          <a:noFill/>
        </p:spPr>
        <p:txBody>
          <a:bodyPr wrap="square" rtlCol="0">
            <a:spAutoFit/>
          </a:bodyPr>
          <a:lstStyle/>
          <a:p>
            <a:pPr algn="r"/>
            <a:r>
              <a:rPr lang="en-US" sz="800" b="1" dirty="0">
                <a:latin typeface="GT America" panose="00000500000000000000" pitchFamily="50" charset="0"/>
              </a:rPr>
              <a:t>February 2021</a:t>
            </a:r>
          </a:p>
        </p:txBody>
      </p:sp>
    </p:spTree>
    <p:extLst>
      <p:ext uri="{BB962C8B-B14F-4D97-AF65-F5344CB8AC3E}">
        <p14:creationId xmlns:p14="http://schemas.microsoft.com/office/powerpoint/2010/main" val="90526736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Lst>
  <p:hf hdr="0" ftr="0" dt="0"/>
  <p:txStyles>
    <p:titleStyle>
      <a:lvl1pPr algn="l" defTabSz="914400" rtl="0" eaLnBrk="1" latinLnBrk="0" hangingPunct="1">
        <a:lnSpc>
          <a:spcPct val="90000"/>
        </a:lnSpc>
        <a:spcBef>
          <a:spcPct val="0"/>
        </a:spcBef>
        <a:buNone/>
        <a:defRPr sz="2600" b="1" kern="1200" cap="none" spc="0" baseline="0">
          <a:solidFill>
            <a:schemeClr val="bg2"/>
          </a:solidFill>
          <a:latin typeface="+mj-lt"/>
          <a:ea typeface="+mj-ea"/>
          <a:cs typeface="+mj-cs"/>
        </a:defRPr>
      </a:lvl1pPr>
    </p:titleStyle>
    <p:bodyStyle>
      <a:lvl1pPr marL="85725" indent="-85725" algn="l" defTabSz="914400" rtl="0" eaLnBrk="1" latinLnBrk="0" hangingPunct="1">
        <a:lnSpc>
          <a:spcPct val="100000"/>
        </a:lnSpc>
        <a:spcBef>
          <a:spcPts val="1800"/>
        </a:spcBef>
        <a:buSzPct val="50000"/>
        <a:buFont typeface="HelveticaNeueLT Std Lt Cn" panose="020B0406020202030204" pitchFamily="34" charset="0"/>
        <a:buChar char=" "/>
        <a:defRPr sz="1800" b="0" kern="1200">
          <a:solidFill>
            <a:schemeClr val="tx1">
              <a:lumMod val="65000"/>
              <a:lumOff val="35000"/>
            </a:schemeClr>
          </a:solidFill>
          <a:latin typeface="+mn-lt"/>
          <a:ea typeface="+mn-ea"/>
          <a:cs typeface="+mn-cs"/>
        </a:defRPr>
      </a:lvl1pPr>
      <a:lvl2pPr marL="447675" indent="-314325" algn="l" defTabSz="914400" rtl="0" eaLnBrk="1" latinLnBrk="0" hangingPunct="1">
        <a:lnSpc>
          <a:spcPct val="100000"/>
        </a:lnSpc>
        <a:spcBef>
          <a:spcPts val="600"/>
        </a:spcBef>
        <a:buClrTx/>
        <a:buSzPct val="100000"/>
        <a:buFont typeface="Arial" panose="020B0604020202020204" pitchFamily="34" charset="0"/>
        <a:buChar char="•"/>
        <a:defRPr sz="1800" kern="1200">
          <a:solidFill>
            <a:schemeClr val="tx1">
              <a:lumMod val="65000"/>
              <a:lumOff val="35000"/>
            </a:schemeClr>
          </a:solidFill>
          <a:latin typeface="+mn-lt"/>
          <a:ea typeface="+mn-ea"/>
          <a:cs typeface="+mn-cs"/>
        </a:defRPr>
      </a:lvl2pPr>
      <a:lvl3pPr marL="714375" indent="-171450" algn="l" defTabSz="914400" rtl="0" eaLnBrk="1" latinLnBrk="0" hangingPunct="1">
        <a:lnSpc>
          <a:spcPct val="100000"/>
        </a:lnSpc>
        <a:spcBef>
          <a:spcPts val="600"/>
        </a:spcBef>
        <a:buFont typeface="Arial" panose="020B0604020202020204" pitchFamily="34" charset="0"/>
        <a:buChar char="‒"/>
        <a:defRPr sz="1800" kern="1200">
          <a:solidFill>
            <a:schemeClr val="tx1">
              <a:lumMod val="65000"/>
              <a:lumOff val="35000"/>
            </a:schemeClr>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100" kern="1200">
          <a:solidFill>
            <a:schemeClr val="bg2"/>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050" kern="1200">
          <a:solidFill>
            <a:schemeClr val="bg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3.jpeg"/><Relationship Id="rId3" Type="http://schemas.openxmlformats.org/officeDocument/2006/relationships/image" Target="../media/image5.emf"/><Relationship Id="rId7" Type="http://schemas.openxmlformats.org/officeDocument/2006/relationships/image" Target="../media/image7.jpeg"/><Relationship Id="rId12"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2.svg"/><Relationship Id="rId15" Type="http://schemas.openxmlformats.org/officeDocument/2006/relationships/image" Target="../media/image15.png"/><Relationship Id="rId10" Type="http://schemas.openxmlformats.org/officeDocument/2006/relationships/image" Target="../media/image10.jpeg"/><Relationship Id="rId4" Type="http://schemas.openxmlformats.org/officeDocument/2006/relationships/image" Target="../media/image1.png"/><Relationship Id="rId9" Type="http://schemas.openxmlformats.org/officeDocument/2006/relationships/image" Target="../media/image9.jpeg"/><Relationship Id="rId14" Type="http://schemas.openxmlformats.org/officeDocument/2006/relationships/image" Target="../media/image14.png"/></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23.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8.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28.xml"/><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0.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1.xml"/><Relationship Id="rId1" Type="http://schemas.openxmlformats.org/officeDocument/2006/relationships/slideLayout" Target="../slideLayouts/slideLayout28.xml"/><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2.xml"/><Relationship Id="rId1" Type="http://schemas.openxmlformats.org/officeDocument/2006/relationships/slideLayout" Target="../slideLayouts/slideLayout28.xml"/><Relationship Id="rId4" Type="http://schemas.openxmlformats.org/officeDocument/2006/relationships/image" Target="../media/image29.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8.xml"/><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4.xml"/><Relationship Id="rId1" Type="http://schemas.openxmlformats.org/officeDocument/2006/relationships/slideLayout" Target="../slideLayouts/slideLayout28.xml"/><Relationship Id="rId5" Type="http://schemas.openxmlformats.org/officeDocument/2006/relationships/image" Target="../media/image32.png"/><Relationship Id="rId4"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6.xml"/><Relationship Id="rId1" Type="http://schemas.openxmlformats.org/officeDocument/2006/relationships/slideLayout" Target="../slideLayouts/slideLayout28.xml"/><Relationship Id="rId5" Type="http://schemas.openxmlformats.org/officeDocument/2006/relationships/image" Target="../media/image34.png"/><Relationship Id="rId4" Type="http://schemas.openxmlformats.org/officeDocument/2006/relationships/image" Target="../media/image33.png"/></Relationships>
</file>

<file path=ppt/slides/_rels/slide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7.xml"/><Relationship Id="rId1" Type="http://schemas.openxmlformats.org/officeDocument/2006/relationships/slideLayout" Target="../slideLayouts/slideLayout28.xml"/><Relationship Id="rId5" Type="http://schemas.openxmlformats.org/officeDocument/2006/relationships/image" Target="../media/image36.png"/><Relationship Id="rId4" Type="http://schemas.openxmlformats.org/officeDocument/2006/relationships/image" Target="../media/image35.png"/></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8.xml"/><Relationship Id="rId1" Type="http://schemas.openxmlformats.org/officeDocument/2006/relationships/slideLayout" Target="../slideLayouts/slideLayout28.xml"/><Relationship Id="rId5" Type="http://schemas.openxmlformats.org/officeDocument/2006/relationships/image" Target="../media/image38.png"/><Relationship Id="rId4" Type="http://schemas.openxmlformats.org/officeDocument/2006/relationships/image" Target="../media/image37.png"/></Relationships>
</file>

<file path=ppt/slides/_rels/slide2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17.png"/><Relationship Id="rId1" Type="http://schemas.openxmlformats.org/officeDocument/2006/relationships/slideLayout" Target="../slideLayouts/slideLayout28.xml"/><Relationship Id="rId5" Type="http://schemas.openxmlformats.org/officeDocument/2006/relationships/image" Target="../media/image41.png"/><Relationship Id="rId4" Type="http://schemas.openxmlformats.org/officeDocument/2006/relationships/image" Target="../media/image4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3.xml"/><Relationship Id="rId4" Type="http://schemas.openxmlformats.org/officeDocument/2006/relationships/image" Target="../media/image19.svg"/></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88B46D6-1384-3C4D-981F-DC463819157C}"/>
              </a:ext>
            </a:extLst>
          </p:cNvPr>
          <p:cNvSpPr/>
          <p:nvPr/>
        </p:nvSpPr>
        <p:spPr>
          <a:xfrm>
            <a:off x="0" y="12213"/>
            <a:ext cx="12192000" cy="6858000"/>
          </a:xfrm>
          <a:prstGeom prst="rect">
            <a:avLst/>
          </a:prstGeom>
          <a:solidFill>
            <a:srgbClr val="2C2C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solidFill>
                  <a:schemeClr val="bg1"/>
                </a:solidFill>
                <a:latin typeface="GT America" panose="00000500000000000000" pitchFamily="50" charset="0"/>
              </a:rPr>
              <a:t>                   </a:t>
            </a:r>
          </a:p>
          <a:p>
            <a:endParaRPr lang="en-US" dirty="0">
              <a:solidFill>
                <a:schemeClr val="bg1"/>
              </a:solidFill>
              <a:latin typeface="GT America" panose="00000500000000000000" pitchFamily="50" charset="0"/>
            </a:endParaRPr>
          </a:p>
          <a:p>
            <a:r>
              <a:rPr lang="en-US" dirty="0">
                <a:solidFill>
                  <a:schemeClr val="bg1"/>
                </a:solidFill>
                <a:latin typeface="GT America" panose="00000500000000000000" pitchFamily="50" charset="0"/>
              </a:rPr>
              <a:t>                  </a:t>
            </a:r>
            <a:r>
              <a:rPr lang="en-US" i="1" dirty="0">
                <a:solidFill>
                  <a:schemeClr val="bg1"/>
                </a:solidFill>
                <a:latin typeface="GT America" panose="00000500000000000000" pitchFamily="50" charset="0"/>
              </a:rPr>
              <a:t>Partnership for Evidence-based </a:t>
            </a:r>
          </a:p>
          <a:p>
            <a:r>
              <a:rPr lang="en-US" i="1" dirty="0">
                <a:solidFill>
                  <a:schemeClr val="bg1"/>
                </a:solidFill>
                <a:latin typeface="GT America" panose="00000500000000000000" pitchFamily="50" charset="0"/>
              </a:rPr>
              <a:t>                  Response to COVID-19 (PERC)</a:t>
            </a:r>
          </a:p>
          <a:p>
            <a:endParaRPr lang="en-US" dirty="0">
              <a:solidFill>
                <a:schemeClr val="bg1"/>
              </a:solidFill>
              <a:latin typeface="GT America" panose="00000500000000000000" pitchFamily="50" charset="0"/>
            </a:endParaRPr>
          </a:p>
        </p:txBody>
      </p:sp>
      <p:pic>
        <p:nvPicPr>
          <p:cNvPr id="9" name="Picture 8">
            <a:extLst>
              <a:ext uri="{FF2B5EF4-FFF2-40B4-BE49-F238E27FC236}">
                <a16:creationId xmlns:a16="http://schemas.microsoft.com/office/drawing/2014/main" id="{EABF2C0F-A72E-7A4E-9FC1-704373F1E418}"/>
              </a:ext>
            </a:extLst>
          </p:cNvPr>
          <p:cNvPicPr>
            <a:picLocks noChangeAspect="1"/>
          </p:cNvPicPr>
          <p:nvPr/>
        </p:nvPicPr>
        <p:blipFill>
          <a:blip r:embed="rId3"/>
          <a:stretch>
            <a:fillRect/>
          </a:stretch>
        </p:blipFill>
        <p:spPr>
          <a:xfrm rot="5400000" flipH="1">
            <a:off x="3769870" y="-1423471"/>
            <a:ext cx="6858000" cy="9704936"/>
          </a:xfrm>
          <a:prstGeom prst="rect">
            <a:avLst/>
          </a:prstGeom>
        </p:spPr>
      </p:pic>
      <p:sp>
        <p:nvSpPr>
          <p:cNvPr id="2" name="Title 1">
            <a:extLst>
              <a:ext uri="{FF2B5EF4-FFF2-40B4-BE49-F238E27FC236}">
                <a16:creationId xmlns:a16="http://schemas.microsoft.com/office/drawing/2014/main" id="{71615059-C2EC-466C-971F-F5E850825A25}"/>
              </a:ext>
            </a:extLst>
          </p:cNvPr>
          <p:cNvSpPr>
            <a:spLocks noGrp="1"/>
          </p:cNvSpPr>
          <p:nvPr>
            <p:ph type="ctrTitle"/>
          </p:nvPr>
        </p:nvSpPr>
        <p:spPr>
          <a:xfrm>
            <a:off x="6091898" y="1869673"/>
            <a:ext cx="5620677" cy="1320829"/>
          </a:xfrm>
        </p:spPr>
        <p:txBody>
          <a:bodyPr>
            <a:noAutofit/>
          </a:bodyPr>
          <a:lstStyle/>
          <a:p>
            <a:pPr algn="l"/>
            <a:r>
              <a:rPr lang="en-US" sz="2800" dirty="0">
                <a:solidFill>
                  <a:schemeClr val="bg1"/>
                </a:solidFill>
                <a:latin typeface="GT America" panose="00000500000000000000"/>
              </a:rPr>
              <a:t>Finding the Balance: </a:t>
            </a:r>
            <a:br>
              <a:rPr lang="en-US" sz="2800" dirty="0">
                <a:solidFill>
                  <a:schemeClr val="bg1"/>
                </a:solidFill>
                <a:latin typeface="GT America" panose="00000500000000000000"/>
              </a:rPr>
            </a:br>
            <a:r>
              <a:rPr lang="en-US" sz="2800" dirty="0">
                <a:solidFill>
                  <a:schemeClr val="bg1"/>
                </a:solidFill>
                <a:latin typeface="GT America" panose="00000500000000000000"/>
              </a:rPr>
              <a:t>Public Health and Social Measures in Liberia</a:t>
            </a:r>
            <a:endParaRPr lang="en-US" sz="2800" b="1" dirty="0">
              <a:solidFill>
                <a:schemeClr val="bg1"/>
              </a:solidFill>
              <a:latin typeface="GT America" panose="00000500000000000000"/>
            </a:endParaRPr>
          </a:p>
        </p:txBody>
      </p:sp>
      <p:sp>
        <p:nvSpPr>
          <p:cNvPr id="3" name="Subtitle 2">
            <a:extLst>
              <a:ext uri="{FF2B5EF4-FFF2-40B4-BE49-F238E27FC236}">
                <a16:creationId xmlns:a16="http://schemas.microsoft.com/office/drawing/2014/main" id="{B9032F31-572F-4846-8E69-F83BD4892DFF}"/>
              </a:ext>
            </a:extLst>
          </p:cNvPr>
          <p:cNvSpPr>
            <a:spLocks noGrp="1"/>
          </p:cNvSpPr>
          <p:nvPr>
            <p:ph type="subTitle" idx="1"/>
          </p:nvPr>
        </p:nvSpPr>
        <p:spPr>
          <a:xfrm>
            <a:off x="6109750" y="3441213"/>
            <a:ext cx="6017646" cy="1655762"/>
          </a:xfrm>
        </p:spPr>
        <p:txBody>
          <a:bodyPr/>
          <a:lstStyle/>
          <a:p>
            <a:pPr algn="l"/>
            <a:r>
              <a:rPr lang="en-US" dirty="0">
                <a:solidFill>
                  <a:schemeClr val="bg1"/>
                </a:solidFill>
                <a:latin typeface="GT America" panose="00000500000000000000"/>
              </a:rPr>
              <a:t>Data updated 26 February 2021</a:t>
            </a:r>
          </a:p>
          <a:p>
            <a:pPr algn="l"/>
            <a:endParaRPr lang="en-US" dirty="0">
              <a:solidFill>
                <a:schemeClr val="bg1"/>
              </a:solidFill>
              <a:latin typeface="GT America" panose="00000500000000000000"/>
            </a:endParaRPr>
          </a:p>
        </p:txBody>
      </p:sp>
      <p:pic>
        <p:nvPicPr>
          <p:cNvPr id="5" name="Graphic 4">
            <a:extLst>
              <a:ext uri="{FF2B5EF4-FFF2-40B4-BE49-F238E27FC236}">
                <a16:creationId xmlns:a16="http://schemas.microsoft.com/office/drawing/2014/main" id="{DCA92E32-0BC0-DF49-BD47-C03FAAF4D6F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87367" y="2299863"/>
            <a:ext cx="3086937" cy="1028979"/>
          </a:xfrm>
          <a:prstGeom prst="rect">
            <a:avLst/>
          </a:prstGeom>
        </p:spPr>
      </p:pic>
      <p:sp>
        <p:nvSpPr>
          <p:cNvPr id="6" name="Rectangle 2">
            <a:extLst>
              <a:ext uri="{FF2B5EF4-FFF2-40B4-BE49-F238E27FC236}">
                <a16:creationId xmlns:a16="http://schemas.microsoft.com/office/drawing/2014/main" id="{69724E38-0063-714F-B32C-6B34B29D44BB}"/>
              </a:ext>
            </a:extLst>
          </p:cNvPr>
          <p:cNvSpPr>
            <a:spLocks noChangeArrowheads="1"/>
          </p:cNvSpPr>
          <p:nvPr/>
        </p:nvSpPr>
        <p:spPr bwMode="auto">
          <a:xfrm>
            <a:off x="1023937" y="7948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8" name="Rectangle 3">
            <a:extLst>
              <a:ext uri="{FF2B5EF4-FFF2-40B4-BE49-F238E27FC236}">
                <a16:creationId xmlns:a16="http://schemas.microsoft.com/office/drawing/2014/main" id="{D6A34C25-40E8-5A44-B94C-E7BF2BADB4EA}"/>
              </a:ext>
            </a:extLst>
          </p:cNvPr>
          <p:cNvSpPr>
            <a:spLocks noChangeArrowheads="1"/>
          </p:cNvSpPr>
          <p:nvPr/>
        </p:nvSpPr>
        <p:spPr bwMode="auto">
          <a:xfrm>
            <a:off x="1023937" y="2102980"/>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latin typeface="GT America" panose="00000500000000000000" pitchFamily="50" charset="0"/>
            </a:endParaRPr>
          </a:p>
        </p:txBody>
      </p:sp>
      <p:sp>
        <p:nvSpPr>
          <p:cNvPr id="20" name="Rectangle 19">
            <a:extLst>
              <a:ext uri="{FF2B5EF4-FFF2-40B4-BE49-F238E27FC236}">
                <a16:creationId xmlns:a16="http://schemas.microsoft.com/office/drawing/2014/main" id="{8EEFB8B3-E07A-454C-B7B9-926E0E77CA65}"/>
              </a:ext>
            </a:extLst>
          </p:cNvPr>
          <p:cNvSpPr/>
          <p:nvPr/>
        </p:nvSpPr>
        <p:spPr>
          <a:xfrm>
            <a:off x="0" y="6214820"/>
            <a:ext cx="12192000" cy="6431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50" charset="0"/>
            </a:endParaRPr>
          </a:p>
        </p:txBody>
      </p:sp>
      <p:pic>
        <p:nvPicPr>
          <p:cNvPr id="1026" name="Picture 2">
            <a:extLst>
              <a:ext uri="{FF2B5EF4-FFF2-40B4-BE49-F238E27FC236}">
                <a16:creationId xmlns:a16="http://schemas.microsoft.com/office/drawing/2014/main" id="{FD370109-46F7-4F29-9EBE-3E856DADF3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6250307"/>
            <a:ext cx="9048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a:extLst>
              <a:ext uri="{FF2B5EF4-FFF2-40B4-BE49-F238E27FC236}">
                <a16:creationId xmlns:a16="http://schemas.microsoft.com/office/drawing/2014/main" id="{23F28E10-D5C5-4CFB-A7E7-AC57A72FCA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1413" y="6250307"/>
            <a:ext cx="1076325" cy="47625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E86AFA67-82C5-457A-89B1-AF2483A3B41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438400" y="6250307"/>
            <a:ext cx="523875" cy="485775"/>
          </a:xfrm>
          <a:prstGeom prst="rect">
            <a:avLst/>
          </a:prstGeom>
          <a:noFill/>
          <a:extLst>
            <a:ext uri="{909E8E84-426E-40DD-AFC4-6F175D3DCCD1}">
              <a14:hiddenFill xmlns:a14="http://schemas.microsoft.com/office/drawing/2010/main">
                <a:solidFill>
                  <a:srgbClr val="FFFFFF"/>
                </a:solidFill>
              </a14:hiddenFill>
            </a:ext>
          </a:extLst>
        </p:spPr>
      </p:pic>
      <p:pic>
        <p:nvPicPr>
          <p:cNvPr id="1029" name="Picture 5">
            <a:extLst>
              <a:ext uri="{FF2B5EF4-FFF2-40B4-BE49-F238E27FC236}">
                <a16:creationId xmlns:a16="http://schemas.microsoft.com/office/drawing/2014/main" id="{91276749-A1B5-4489-9886-55FD5E8B2DE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097213" y="6250307"/>
            <a:ext cx="1057275" cy="50482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D6ABF34-A8ED-4DED-8956-55AA16C1D6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319588" y="6250307"/>
            <a:ext cx="1457325" cy="590550"/>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a:extLst>
              <a:ext uri="{FF2B5EF4-FFF2-40B4-BE49-F238E27FC236}">
                <a16:creationId xmlns:a16="http://schemas.microsoft.com/office/drawing/2014/main" id="{1A79E76E-28FE-4D94-9515-0FA4831B354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5995988" y="6429002"/>
            <a:ext cx="933450" cy="1905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3F30199-C6FD-4831-A7F8-DBC07C2B1ED5}"/>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078663" y="6250307"/>
            <a:ext cx="1009650" cy="581025"/>
          </a:xfrm>
          <a:prstGeom prst="rect">
            <a:avLst/>
          </a:prstGeom>
          <a:noFill/>
          <a:extLst>
            <a:ext uri="{909E8E84-426E-40DD-AFC4-6F175D3DCCD1}">
              <a14:hiddenFill xmlns:a14="http://schemas.microsoft.com/office/drawing/2010/main">
                <a:solidFill>
                  <a:srgbClr val="FFFFFF"/>
                </a:solidFill>
              </a14:hiddenFill>
            </a:ext>
          </a:extLst>
        </p:spPr>
      </p:pic>
      <p:pic>
        <p:nvPicPr>
          <p:cNvPr id="1033" name="Picture 9">
            <a:extLst>
              <a:ext uri="{FF2B5EF4-FFF2-40B4-BE49-F238E27FC236}">
                <a16:creationId xmlns:a16="http://schemas.microsoft.com/office/drawing/2014/main" id="{E239FD99-C03E-42EA-A8B6-32D80C31D511}"/>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221663" y="6250307"/>
            <a:ext cx="990600" cy="419100"/>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a:extLst>
              <a:ext uri="{FF2B5EF4-FFF2-40B4-BE49-F238E27FC236}">
                <a16:creationId xmlns:a16="http://schemas.microsoft.com/office/drawing/2014/main" id="{7B4036D3-8803-4EAD-8739-1E6756B31168}"/>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9361488" y="6250307"/>
            <a:ext cx="876300" cy="533400"/>
          </a:xfrm>
          <a:prstGeom prst="rect">
            <a:avLst/>
          </a:prstGeom>
          <a:noFill/>
          <a:extLst>
            <a:ext uri="{909E8E84-426E-40DD-AFC4-6F175D3DCCD1}">
              <a14:hiddenFill xmlns:a14="http://schemas.microsoft.com/office/drawing/2010/main">
                <a:solidFill>
                  <a:srgbClr val="FFFFFF"/>
                </a:solidFill>
              </a14:hiddenFill>
            </a:ext>
          </a:extLst>
        </p:spPr>
      </p:pic>
      <p:pic>
        <p:nvPicPr>
          <p:cNvPr id="1035" name="Picture 11">
            <a:extLst>
              <a:ext uri="{FF2B5EF4-FFF2-40B4-BE49-F238E27FC236}">
                <a16:creationId xmlns:a16="http://schemas.microsoft.com/office/drawing/2014/main" id="{4A9A82AD-1659-4113-8509-917DF6FD4B65}"/>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0415588" y="6250307"/>
            <a:ext cx="1476375" cy="495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7210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PHSM Support and Self-Reported Adherence</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55166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504177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B55B5954-BD1E-4CB1-812B-E7BD491ED9A9}"/>
              </a:ext>
            </a:extLst>
          </p:cNvPr>
          <p:cNvSpPr/>
          <p:nvPr/>
        </p:nvSpPr>
        <p:spPr>
          <a:xfrm>
            <a:off x="777647" y="6411764"/>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sp>
        <p:nvSpPr>
          <p:cNvPr id="17" name="TextBox 16">
            <a:extLst>
              <a:ext uri="{FF2B5EF4-FFF2-40B4-BE49-F238E27FC236}">
                <a16:creationId xmlns:a16="http://schemas.microsoft.com/office/drawing/2014/main" id="{AD8D3624-0A3A-4D08-9739-122DFB164521}"/>
              </a:ext>
            </a:extLst>
          </p:cNvPr>
          <p:cNvSpPr txBox="1"/>
          <p:nvPr/>
        </p:nvSpPr>
        <p:spPr>
          <a:xfrm>
            <a:off x="5665113" y="137600"/>
            <a:ext cx="2839848" cy="400110"/>
          </a:xfrm>
          <a:prstGeom prst="rect">
            <a:avLst/>
          </a:prstGeom>
          <a:noFill/>
        </p:spPr>
        <p:txBody>
          <a:bodyPr wrap="square" rtlCol="0">
            <a:spAutoFit/>
          </a:bodyPr>
          <a:lstStyle/>
          <a:p>
            <a:r>
              <a:rPr lang="en-US" sz="2000" b="1" dirty="0">
                <a:solidFill>
                  <a:schemeClr val="bg2"/>
                </a:solidFill>
                <a:latin typeface="GT America" panose="00000500000000000000"/>
              </a:rPr>
              <a:t>Individual measures</a:t>
            </a:r>
          </a:p>
        </p:txBody>
      </p:sp>
      <p:sp>
        <p:nvSpPr>
          <p:cNvPr id="22" name="TextBox 21">
            <a:extLst>
              <a:ext uri="{FF2B5EF4-FFF2-40B4-BE49-F238E27FC236}">
                <a16:creationId xmlns:a16="http://schemas.microsoft.com/office/drawing/2014/main" id="{DD6C74D8-2089-4619-BDF8-02BCFE8658F3}"/>
              </a:ext>
            </a:extLst>
          </p:cNvPr>
          <p:cNvSpPr txBox="1"/>
          <p:nvPr/>
        </p:nvSpPr>
        <p:spPr>
          <a:xfrm>
            <a:off x="5665113" y="2680097"/>
            <a:ext cx="6225246" cy="400110"/>
          </a:xfrm>
          <a:prstGeom prst="rect">
            <a:avLst/>
          </a:prstGeom>
          <a:noFill/>
        </p:spPr>
        <p:txBody>
          <a:bodyPr wrap="square" lIns="91440" tIns="45720" rIns="91440" bIns="45720" rtlCol="0" anchor="t">
            <a:spAutoFit/>
          </a:bodyPr>
          <a:lstStyle/>
          <a:p>
            <a:r>
              <a:rPr lang="en-US" sz="2000" b="1" dirty="0">
                <a:solidFill>
                  <a:schemeClr val="bg2"/>
                </a:solidFill>
                <a:latin typeface="GT America" panose="00000500000000000000"/>
              </a:rPr>
              <a:t>Measures restricting social gatherings</a:t>
            </a:r>
            <a:endParaRPr lang="en-US" dirty="0">
              <a:solidFill>
                <a:schemeClr val="bg2"/>
              </a:solidFill>
            </a:endParaRPr>
          </a:p>
        </p:txBody>
      </p:sp>
      <p:sp>
        <p:nvSpPr>
          <p:cNvPr id="23" name="TextBox 22">
            <a:extLst>
              <a:ext uri="{FF2B5EF4-FFF2-40B4-BE49-F238E27FC236}">
                <a16:creationId xmlns:a16="http://schemas.microsoft.com/office/drawing/2014/main" id="{7F836E9A-E358-4E9D-BA96-D3BE7841C65C}"/>
              </a:ext>
            </a:extLst>
          </p:cNvPr>
          <p:cNvSpPr txBox="1"/>
          <p:nvPr/>
        </p:nvSpPr>
        <p:spPr>
          <a:xfrm>
            <a:off x="5665113" y="4766245"/>
            <a:ext cx="6316933" cy="400110"/>
          </a:xfrm>
          <a:prstGeom prst="rect">
            <a:avLst/>
          </a:prstGeom>
          <a:noFill/>
        </p:spPr>
        <p:txBody>
          <a:bodyPr wrap="square" lIns="91440" tIns="45720" rIns="91440" bIns="45720" rtlCol="0" anchor="t">
            <a:spAutoFit/>
          </a:bodyPr>
          <a:lstStyle/>
          <a:p>
            <a:r>
              <a:rPr lang="en-US" sz="2000" b="1">
                <a:solidFill>
                  <a:schemeClr val="bg2"/>
                </a:solidFill>
                <a:latin typeface="GT America" panose="00000500000000000000"/>
              </a:rPr>
              <a:t>Measures restricting movement</a:t>
            </a:r>
            <a:endParaRPr lang="en-US">
              <a:solidFill>
                <a:schemeClr val="bg2"/>
              </a:solidFill>
            </a:endParaRPr>
          </a:p>
        </p:txBody>
      </p:sp>
      <p:cxnSp>
        <p:nvCxnSpPr>
          <p:cNvPr id="46" name="Straight Connector 45">
            <a:extLst>
              <a:ext uri="{FF2B5EF4-FFF2-40B4-BE49-F238E27FC236}">
                <a16:creationId xmlns:a16="http://schemas.microsoft.com/office/drawing/2014/main" id="{F9A3E2E4-5042-4F0F-975A-6240D70E61E9}"/>
              </a:ext>
            </a:extLst>
          </p:cNvPr>
          <p:cNvCxnSpPr>
            <a:cxnSpLocks/>
          </p:cNvCxnSpPr>
          <p:nvPr/>
        </p:nvCxnSpPr>
        <p:spPr>
          <a:xfrm>
            <a:off x="5665113" y="2629182"/>
            <a:ext cx="636924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776FE142-AD06-4823-A62A-FCA5ED337D60}"/>
              </a:ext>
            </a:extLst>
          </p:cNvPr>
          <p:cNvCxnSpPr>
            <a:cxnSpLocks/>
          </p:cNvCxnSpPr>
          <p:nvPr/>
        </p:nvCxnSpPr>
        <p:spPr>
          <a:xfrm>
            <a:off x="5665113" y="4713860"/>
            <a:ext cx="6320058"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2" name="Group 1">
            <a:extLst>
              <a:ext uri="{FF2B5EF4-FFF2-40B4-BE49-F238E27FC236}">
                <a16:creationId xmlns:a16="http://schemas.microsoft.com/office/drawing/2014/main" id="{89DE43B9-3237-4DF2-8C58-DF051E5BA1B1}"/>
              </a:ext>
            </a:extLst>
          </p:cNvPr>
          <p:cNvGrpSpPr/>
          <p:nvPr/>
        </p:nvGrpSpPr>
        <p:grpSpPr>
          <a:xfrm>
            <a:off x="0" y="2946"/>
            <a:ext cx="5530787" cy="6858000"/>
            <a:chOff x="6609059" y="1120639"/>
            <a:chExt cx="3022087" cy="6858000"/>
          </a:xfrm>
        </p:grpSpPr>
        <p:sp>
          <p:nvSpPr>
            <p:cNvPr id="18" name="Rectangle 17">
              <a:extLst>
                <a:ext uri="{FF2B5EF4-FFF2-40B4-BE49-F238E27FC236}">
                  <a16:creationId xmlns:a16="http://schemas.microsoft.com/office/drawing/2014/main" id="{8D2D8EB0-25F9-48C0-B378-36FD77D91E8F}"/>
                </a:ext>
              </a:extLst>
            </p:cNvPr>
            <p:cNvSpPr/>
            <p:nvPr/>
          </p:nvSpPr>
          <p:spPr>
            <a:xfrm>
              <a:off x="6609059" y="1120639"/>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itle 1">
              <a:extLst>
                <a:ext uri="{FF2B5EF4-FFF2-40B4-BE49-F238E27FC236}">
                  <a16:creationId xmlns:a16="http://schemas.microsoft.com/office/drawing/2014/main" id="{22B14118-72CA-401B-8FE9-E5BE085770B5}"/>
                </a:ext>
              </a:extLst>
            </p:cNvPr>
            <p:cNvSpPr txBox="1">
              <a:spLocks/>
            </p:cNvSpPr>
            <p:nvPr/>
          </p:nvSpPr>
          <p:spPr>
            <a:xfrm>
              <a:off x="6682457" y="1362584"/>
              <a:ext cx="2948689"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Do people support and follow measur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A2DE186B-FC29-46E6-A829-F7430DA578EA}"/>
                </a:ext>
              </a:extLst>
            </p:cNvPr>
            <p:cNvCxnSpPr/>
            <p:nvPr/>
          </p:nvCxnSpPr>
          <p:spPr>
            <a:xfrm>
              <a:off x="6748973" y="248350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9092B204-BD85-4477-A1FC-FD320ACCC60A}"/>
              </a:ext>
            </a:extLst>
          </p:cNvPr>
          <p:cNvSpPr txBox="1"/>
          <p:nvPr/>
        </p:nvSpPr>
        <p:spPr>
          <a:xfrm>
            <a:off x="157639" y="1519880"/>
            <a:ext cx="5238822" cy="1200329"/>
          </a:xfrm>
          <a:prstGeom prst="rect">
            <a:avLst/>
          </a:prstGeom>
          <a:noFill/>
        </p:spPr>
        <p:txBody>
          <a:bodyPr wrap="square" rtlCol="0">
            <a:spAutoFit/>
          </a:bodyPr>
          <a:lstStyle/>
          <a:p>
            <a:r>
              <a:rPr lang="en-US" b="1" dirty="0">
                <a:solidFill>
                  <a:schemeClr val="bg1"/>
                </a:solidFill>
                <a:latin typeface="GT America" panose="00000500000000000000"/>
              </a:rPr>
              <a:t>Support for and self-reported adherence to all PHSMs in Liberia has declined since August 2020.  The lack of mandates may have contributed to low PHSM adherence. </a:t>
            </a:r>
          </a:p>
        </p:txBody>
      </p:sp>
      <p:sp>
        <p:nvSpPr>
          <p:cNvPr id="31" name="Rectangle 30">
            <a:extLst>
              <a:ext uri="{FF2B5EF4-FFF2-40B4-BE49-F238E27FC236}">
                <a16:creationId xmlns:a16="http://schemas.microsoft.com/office/drawing/2014/main" id="{ED67BB70-9829-40E0-96BD-342ED4362DDD}"/>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2" name="Picture 31">
            <a:extLst>
              <a:ext uri="{FF2B5EF4-FFF2-40B4-BE49-F238E27FC236}">
                <a16:creationId xmlns:a16="http://schemas.microsoft.com/office/drawing/2014/main" id="{F2EF1F86-BEEF-4574-9D3F-BAD4C8F4A864}"/>
              </a:ext>
            </a:extLst>
          </p:cNvPr>
          <p:cNvPicPr>
            <a:picLocks noChangeAspect="1"/>
          </p:cNvPicPr>
          <p:nvPr/>
        </p:nvPicPr>
        <p:blipFill>
          <a:blip r:embed="rId3"/>
          <a:stretch>
            <a:fillRect/>
          </a:stretch>
        </p:blipFill>
        <p:spPr>
          <a:xfrm>
            <a:off x="127876" y="6265228"/>
            <a:ext cx="1873969" cy="397288"/>
          </a:xfrm>
          <a:prstGeom prst="rect">
            <a:avLst/>
          </a:prstGeom>
        </p:spPr>
      </p:pic>
      <p:sp>
        <p:nvSpPr>
          <p:cNvPr id="33" name="TextBox 32">
            <a:extLst>
              <a:ext uri="{FF2B5EF4-FFF2-40B4-BE49-F238E27FC236}">
                <a16:creationId xmlns:a16="http://schemas.microsoft.com/office/drawing/2014/main" id="{738CC71B-8A8F-4413-AAEC-45BBAEB68CD8}"/>
              </a:ext>
            </a:extLst>
          </p:cNvPr>
          <p:cNvSpPr txBox="1"/>
          <p:nvPr/>
        </p:nvSpPr>
        <p:spPr>
          <a:xfrm>
            <a:off x="378237" y="3684991"/>
            <a:ext cx="4774311" cy="1708160"/>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i="0" dirty="0">
                <a:solidFill>
                  <a:schemeClr val="bg1">
                    <a:lumMod val="85000"/>
                  </a:schemeClr>
                </a:solidFill>
                <a:effectLst/>
                <a:latin typeface="GTAmerica"/>
              </a:rPr>
              <a:t>Lower-income respondents reported less adherence than higher-income respondents to nearly all PHSMs, particularly social measures (20% vs. 33%), suggesting an economic barrier to compliance. </a:t>
            </a:r>
          </a:p>
        </p:txBody>
      </p:sp>
      <p:pic>
        <p:nvPicPr>
          <p:cNvPr id="5" name="Picture 4">
            <a:extLst>
              <a:ext uri="{FF2B5EF4-FFF2-40B4-BE49-F238E27FC236}">
                <a16:creationId xmlns:a16="http://schemas.microsoft.com/office/drawing/2014/main" id="{94651CED-58D3-498C-8F8D-2D722430E506}"/>
              </a:ext>
            </a:extLst>
          </p:cNvPr>
          <p:cNvPicPr>
            <a:picLocks noChangeAspect="1"/>
          </p:cNvPicPr>
          <p:nvPr/>
        </p:nvPicPr>
        <p:blipFill>
          <a:blip r:embed="rId4"/>
          <a:stretch>
            <a:fillRect/>
          </a:stretch>
        </p:blipFill>
        <p:spPr>
          <a:xfrm>
            <a:off x="5530786" y="501922"/>
            <a:ext cx="6454385" cy="2110517"/>
          </a:xfrm>
          <a:prstGeom prst="rect">
            <a:avLst/>
          </a:prstGeom>
        </p:spPr>
      </p:pic>
      <p:pic>
        <p:nvPicPr>
          <p:cNvPr id="12" name="Picture 11">
            <a:extLst>
              <a:ext uri="{FF2B5EF4-FFF2-40B4-BE49-F238E27FC236}">
                <a16:creationId xmlns:a16="http://schemas.microsoft.com/office/drawing/2014/main" id="{910C3237-7FB6-45CC-B8D4-F7CB0E536300}"/>
              </a:ext>
            </a:extLst>
          </p:cNvPr>
          <p:cNvPicPr>
            <a:picLocks noChangeAspect="1"/>
          </p:cNvPicPr>
          <p:nvPr/>
        </p:nvPicPr>
        <p:blipFill>
          <a:blip r:embed="rId5"/>
          <a:stretch>
            <a:fillRect/>
          </a:stretch>
        </p:blipFill>
        <p:spPr>
          <a:xfrm>
            <a:off x="5609650" y="3179335"/>
            <a:ext cx="6483924" cy="1396173"/>
          </a:xfrm>
          <a:prstGeom prst="rect">
            <a:avLst/>
          </a:prstGeom>
        </p:spPr>
      </p:pic>
      <p:pic>
        <p:nvPicPr>
          <p:cNvPr id="15" name="Picture 14">
            <a:extLst>
              <a:ext uri="{FF2B5EF4-FFF2-40B4-BE49-F238E27FC236}">
                <a16:creationId xmlns:a16="http://schemas.microsoft.com/office/drawing/2014/main" id="{277A2208-9AB2-412C-BBDE-1459705AA910}"/>
              </a:ext>
            </a:extLst>
          </p:cNvPr>
          <p:cNvPicPr>
            <a:picLocks noChangeAspect="1"/>
          </p:cNvPicPr>
          <p:nvPr/>
        </p:nvPicPr>
        <p:blipFill>
          <a:blip r:embed="rId6"/>
          <a:stretch>
            <a:fillRect/>
          </a:stretch>
        </p:blipFill>
        <p:spPr>
          <a:xfrm>
            <a:off x="5530786" y="5154708"/>
            <a:ext cx="6551264" cy="1396171"/>
          </a:xfrm>
          <a:prstGeom prst="rect">
            <a:avLst/>
          </a:prstGeom>
        </p:spPr>
      </p:pic>
    </p:spTree>
    <p:extLst>
      <p:ext uri="{BB962C8B-B14F-4D97-AF65-F5344CB8AC3E}">
        <p14:creationId xmlns:p14="http://schemas.microsoft.com/office/powerpoint/2010/main" val="145966037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4" name="Group 23">
            <a:extLst>
              <a:ext uri="{FF2B5EF4-FFF2-40B4-BE49-F238E27FC236}">
                <a16:creationId xmlns:a16="http://schemas.microsoft.com/office/drawing/2014/main" id="{84E92FCD-1680-4FF3-B75B-9FB183B90C74}"/>
              </a:ext>
            </a:extLst>
          </p:cNvPr>
          <p:cNvGrpSpPr/>
          <p:nvPr/>
        </p:nvGrpSpPr>
        <p:grpSpPr>
          <a:xfrm>
            <a:off x="0" y="0"/>
            <a:ext cx="5704114" cy="6858000"/>
            <a:chOff x="6609059" y="1126986"/>
            <a:chExt cx="3125407" cy="6858000"/>
          </a:xfrm>
        </p:grpSpPr>
        <p:sp>
          <p:nvSpPr>
            <p:cNvPr id="25" name="Rectangle 24">
              <a:extLst>
                <a:ext uri="{FF2B5EF4-FFF2-40B4-BE49-F238E27FC236}">
                  <a16:creationId xmlns:a16="http://schemas.microsoft.com/office/drawing/2014/main" id="{444F3635-1B7D-48EE-A094-1DCF8C22B933}"/>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itle 1">
              <a:extLst>
                <a:ext uri="{FF2B5EF4-FFF2-40B4-BE49-F238E27FC236}">
                  <a16:creationId xmlns:a16="http://schemas.microsoft.com/office/drawing/2014/main" id="{9545867E-065D-41D6-94F0-128CAAB70CDF}"/>
                </a:ext>
              </a:extLst>
            </p:cNvPr>
            <p:cNvSpPr txBox="1">
              <a:spLocks/>
            </p:cNvSpPr>
            <p:nvPr/>
          </p:nvSpPr>
          <p:spPr>
            <a:xfrm>
              <a:off x="6716333" y="1294901"/>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om do people trust?</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27" name="Rectangle 26">
              <a:extLst>
                <a:ext uri="{FF2B5EF4-FFF2-40B4-BE49-F238E27FC236}">
                  <a16:creationId xmlns:a16="http://schemas.microsoft.com/office/drawing/2014/main" id="{5DE77875-69C2-4AD8-8701-2E24D74C71CE}"/>
                </a:ext>
              </a:extLst>
            </p:cNvPr>
            <p:cNvSpPr/>
            <p:nvPr/>
          </p:nvSpPr>
          <p:spPr>
            <a:xfrm>
              <a:off x="7490026" y="7580703"/>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28" name="Picture 27">
              <a:extLst>
                <a:ext uri="{FF2B5EF4-FFF2-40B4-BE49-F238E27FC236}">
                  <a16:creationId xmlns:a16="http://schemas.microsoft.com/office/drawing/2014/main" id="{BE743FA5-2FEE-4BF3-949A-0CA7100F5C1C}"/>
                </a:ext>
              </a:extLst>
            </p:cNvPr>
            <p:cNvPicPr>
              <a:picLocks noChangeAspect="1"/>
            </p:cNvPicPr>
            <p:nvPr/>
          </p:nvPicPr>
          <p:blipFill>
            <a:blip r:embed="rId3"/>
            <a:stretch>
              <a:fillRect/>
            </a:stretch>
          </p:blipFill>
          <p:spPr>
            <a:xfrm>
              <a:off x="6609059" y="7475793"/>
              <a:ext cx="880967" cy="397288"/>
            </a:xfrm>
            <a:prstGeom prst="rect">
              <a:avLst/>
            </a:prstGeom>
          </p:spPr>
        </p:pic>
        <p:cxnSp>
          <p:nvCxnSpPr>
            <p:cNvPr id="29" name="Straight Connector 28">
              <a:extLst>
                <a:ext uri="{FF2B5EF4-FFF2-40B4-BE49-F238E27FC236}">
                  <a16:creationId xmlns:a16="http://schemas.microsoft.com/office/drawing/2014/main" id="{DE3F8D16-9DDF-4E06-ABC8-291C27CD69FB}"/>
                </a:ext>
              </a:extLst>
            </p:cNvPr>
            <p:cNvCxnSpPr/>
            <p:nvPr/>
          </p:nvCxnSpPr>
          <p:spPr>
            <a:xfrm>
              <a:off x="6823320" y="203416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0" name="TextBox 29">
            <a:extLst>
              <a:ext uri="{FF2B5EF4-FFF2-40B4-BE49-F238E27FC236}">
                <a16:creationId xmlns:a16="http://schemas.microsoft.com/office/drawing/2014/main" id="{8145DD31-F0DA-41EE-8A74-2FD42AB4AE0C}"/>
              </a:ext>
            </a:extLst>
          </p:cNvPr>
          <p:cNvSpPr txBox="1"/>
          <p:nvPr/>
        </p:nvSpPr>
        <p:spPr>
          <a:xfrm>
            <a:off x="195783" y="1035225"/>
            <a:ext cx="5227843" cy="2308324"/>
          </a:xfrm>
          <a:prstGeom prst="rect">
            <a:avLst/>
          </a:prstGeom>
          <a:noFill/>
        </p:spPr>
        <p:txBody>
          <a:bodyPr wrap="square" rtlCol="0">
            <a:spAutoFit/>
          </a:bodyPr>
          <a:lstStyle/>
          <a:p>
            <a:r>
              <a:rPr lang="en-US" b="1" dirty="0">
                <a:solidFill>
                  <a:schemeClr val="bg1"/>
                </a:solidFill>
                <a:latin typeface="GT America" panose="00000500000000000000"/>
              </a:rPr>
              <a:t>Reported satisfaction with the government’s response was similar to August, but trust in nearly all institutions decreased. Respondents in Liberia reported lower overall satisfaction in their government’s response to COVID-19 than the regional average, and has the second-lowest approval rating in the Western Region after Nigeria (65%)</a:t>
            </a:r>
          </a:p>
        </p:txBody>
      </p:sp>
      <p:sp>
        <p:nvSpPr>
          <p:cNvPr id="4" name="TextBox 3">
            <a:extLst>
              <a:ext uri="{FF2B5EF4-FFF2-40B4-BE49-F238E27FC236}">
                <a16:creationId xmlns:a16="http://schemas.microsoft.com/office/drawing/2014/main" id="{BCC98333-8557-4321-AEAA-997703DFEA32}"/>
              </a:ext>
            </a:extLst>
          </p:cNvPr>
          <p:cNvSpPr txBox="1"/>
          <p:nvPr/>
        </p:nvSpPr>
        <p:spPr>
          <a:xfrm>
            <a:off x="391043" y="3747832"/>
            <a:ext cx="4630745" cy="2246769"/>
          </a:xfrm>
          <a:prstGeom prst="rect">
            <a:avLst/>
          </a:prstGeom>
          <a:noFill/>
          <a:ln>
            <a:noFill/>
          </a:ln>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Male respondents reported a significant increase in satisfaction for the government’s response (from 67% in August to 75%). This is consistent with additional survey results that show male respondents reported a fivefold increase in receiving food assistance from the government since August.</a:t>
            </a:r>
          </a:p>
        </p:txBody>
      </p:sp>
      <p:pic>
        <p:nvPicPr>
          <p:cNvPr id="5" name="Picture 4">
            <a:extLst>
              <a:ext uri="{FF2B5EF4-FFF2-40B4-BE49-F238E27FC236}">
                <a16:creationId xmlns:a16="http://schemas.microsoft.com/office/drawing/2014/main" id="{FCEE48A7-597E-4320-A6D5-7894640F5645}"/>
              </a:ext>
            </a:extLst>
          </p:cNvPr>
          <p:cNvPicPr>
            <a:picLocks noChangeAspect="1"/>
          </p:cNvPicPr>
          <p:nvPr/>
        </p:nvPicPr>
        <p:blipFill>
          <a:blip r:embed="rId4"/>
          <a:stretch>
            <a:fillRect/>
          </a:stretch>
        </p:blipFill>
        <p:spPr>
          <a:xfrm>
            <a:off x="6201445" y="352547"/>
            <a:ext cx="4989069" cy="1639666"/>
          </a:xfrm>
          <a:prstGeom prst="rect">
            <a:avLst/>
          </a:prstGeom>
        </p:spPr>
      </p:pic>
      <p:pic>
        <p:nvPicPr>
          <p:cNvPr id="7" name="Picture 6">
            <a:extLst>
              <a:ext uri="{FF2B5EF4-FFF2-40B4-BE49-F238E27FC236}">
                <a16:creationId xmlns:a16="http://schemas.microsoft.com/office/drawing/2014/main" id="{4F0CC263-963E-4E84-AB3C-9EE37A6DC44E}"/>
              </a:ext>
            </a:extLst>
          </p:cNvPr>
          <p:cNvPicPr>
            <a:picLocks noChangeAspect="1"/>
          </p:cNvPicPr>
          <p:nvPr/>
        </p:nvPicPr>
        <p:blipFill>
          <a:blip r:embed="rId5"/>
          <a:stretch>
            <a:fillRect/>
          </a:stretch>
        </p:blipFill>
        <p:spPr>
          <a:xfrm>
            <a:off x="6794046" y="2016211"/>
            <a:ext cx="4396468" cy="3994177"/>
          </a:xfrm>
          <a:prstGeom prst="rect">
            <a:avLst/>
          </a:prstGeom>
        </p:spPr>
      </p:pic>
    </p:spTree>
    <p:extLst>
      <p:ext uri="{BB962C8B-B14F-4D97-AF65-F5344CB8AC3E}">
        <p14:creationId xmlns:p14="http://schemas.microsoft.com/office/powerpoint/2010/main" val="35916981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Risk Perception and Inform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16806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4189817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9E4D5CFE-5500-43AF-A7CD-E73385110F7D}"/>
              </a:ext>
            </a:extLst>
          </p:cNvPr>
          <p:cNvGrpSpPr/>
          <p:nvPr/>
        </p:nvGrpSpPr>
        <p:grpSpPr>
          <a:xfrm>
            <a:off x="1" y="0"/>
            <a:ext cx="5530787" cy="6858000"/>
            <a:chOff x="6609059" y="1126986"/>
            <a:chExt cx="3022087" cy="6858000"/>
          </a:xfrm>
        </p:grpSpPr>
        <p:sp>
          <p:nvSpPr>
            <p:cNvPr id="13" name="Rectangle 12">
              <a:extLst>
                <a:ext uri="{FF2B5EF4-FFF2-40B4-BE49-F238E27FC236}">
                  <a16:creationId xmlns:a16="http://schemas.microsoft.com/office/drawing/2014/main" id="{A52202E8-3122-4424-BCDB-FB7BCCF79FBC}"/>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itle 1">
              <a:extLst>
                <a:ext uri="{FF2B5EF4-FFF2-40B4-BE49-F238E27FC236}">
                  <a16:creationId xmlns:a16="http://schemas.microsoft.com/office/drawing/2014/main" id="{5AFD5666-E4C0-4B12-8C1A-1858C169476D}"/>
                </a:ext>
              </a:extLst>
            </p:cNvPr>
            <p:cNvSpPr txBox="1">
              <a:spLocks/>
            </p:cNvSpPr>
            <p:nvPr/>
          </p:nvSpPr>
          <p:spPr>
            <a:xfrm>
              <a:off x="6663786" y="1285980"/>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8" name="Straight Connector 17">
              <a:extLst>
                <a:ext uri="{FF2B5EF4-FFF2-40B4-BE49-F238E27FC236}">
                  <a16:creationId xmlns:a16="http://schemas.microsoft.com/office/drawing/2014/main" id="{525ECE08-0C8E-4AAD-9F58-CEEA933FEF16}"/>
                </a:ext>
              </a:extLst>
            </p:cNvPr>
            <p:cNvCxnSpPr/>
            <p:nvPr/>
          </p:nvCxnSpPr>
          <p:spPr>
            <a:xfrm>
              <a:off x="6712895" y="245004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9" name="TextBox 18">
            <a:extLst>
              <a:ext uri="{FF2B5EF4-FFF2-40B4-BE49-F238E27FC236}">
                <a16:creationId xmlns:a16="http://schemas.microsoft.com/office/drawing/2014/main" id="{2EA809DC-9A1D-423E-AC5B-F331E08B02F6}"/>
              </a:ext>
            </a:extLst>
          </p:cNvPr>
          <p:cNvSpPr txBox="1"/>
          <p:nvPr/>
        </p:nvSpPr>
        <p:spPr>
          <a:xfrm>
            <a:off x="127876" y="1579990"/>
            <a:ext cx="5402911" cy="1477328"/>
          </a:xfrm>
          <a:prstGeom prst="rect">
            <a:avLst/>
          </a:prstGeom>
          <a:noFill/>
        </p:spPr>
        <p:txBody>
          <a:bodyPr wrap="square" rtlCol="0">
            <a:spAutoFit/>
          </a:bodyPr>
          <a:lstStyle/>
          <a:p>
            <a:r>
              <a:rPr lang="en-US" b="1" dirty="0">
                <a:solidFill>
                  <a:schemeClr val="bg1"/>
                </a:solidFill>
                <a:latin typeface="GT America" panose="00000500000000000000"/>
              </a:rPr>
              <a:t>Almost three in five respondents (57%) believed that COVID-19 would affect their country, but far fewer (34%) believed they would personally be affected by the virus. Since August, perceived levels of risk have remained similar.</a:t>
            </a:r>
          </a:p>
        </p:txBody>
      </p:sp>
      <p:sp>
        <p:nvSpPr>
          <p:cNvPr id="20" name="TextBox 19">
            <a:extLst>
              <a:ext uri="{FF2B5EF4-FFF2-40B4-BE49-F238E27FC236}">
                <a16:creationId xmlns:a16="http://schemas.microsoft.com/office/drawing/2014/main" id="{92656886-0F66-4622-ABA5-E272A2396ACE}"/>
              </a:ext>
            </a:extLst>
          </p:cNvPr>
          <p:cNvSpPr txBox="1"/>
          <p:nvPr/>
        </p:nvSpPr>
        <p:spPr>
          <a:xfrm>
            <a:off x="190034" y="3650805"/>
            <a:ext cx="5214570" cy="1438855"/>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Low personal risk perception may be related to the fact that few respondents knew someone who had tested positive to COVID-19 (12%), and therefore had little personal experience with the virus. </a:t>
            </a:r>
          </a:p>
        </p:txBody>
      </p:sp>
      <p:sp>
        <p:nvSpPr>
          <p:cNvPr id="12" name="Rectangle 11">
            <a:extLst>
              <a:ext uri="{FF2B5EF4-FFF2-40B4-BE49-F238E27FC236}">
                <a16:creationId xmlns:a16="http://schemas.microsoft.com/office/drawing/2014/main" id="{BA88531E-7E35-4680-B066-C36068D8D94F}"/>
              </a:ext>
            </a:extLst>
          </p:cNvPr>
          <p:cNvSpPr/>
          <p:nvPr/>
        </p:nvSpPr>
        <p:spPr>
          <a:xfrm>
            <a:off x="1937845" y="6325340"/>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2D2A4108-4C15-48F0-A0E8-EB239EB8CB45}"/>
              </a:ext>
            </a:extLst>
          </p:cNvPr>
          <p:cNvPicPr>
            <a:picLocks noChangeAspect="1"/>
          </p:cNvPicPr>
          <p:nvPr/>
        </p:nvPicPr>
        <p:blipFill>
          <a:blip r:embed="rId3"/>
          <a:stretch>
            <a:fillRect/>
          </a:stretch>
        </p:blipFill>
        <p:spPr>
          <a:xfrm>
            <a:off x="127876" y="6265228"/>
            <a:ext cx="1873969" cy="397288"/>
          </a:xfrm>
          <a:prstGeom prst="rect">
            <a:avLst/>
          </a:prstGeom>
        </p:spPr>
      </p:pic>
      <p:pic>
        <p:nvPicPr>
          <p:cNvPr id="3" name="Picture 2">
            <a:extLst>
              <a:ext uri="{FF2B5EF4-FFF2-40B4-BE49-F238E27FC236}">
                <a16:creationId xmlns:a16="http://schemas.microsoft.com/office/drawing/2014/main" id="{0551650E-A3B4-4C0C-A59B-6F395E5F036C}"/>
              </a:ext>
            </a:extLst>
          </p:cNvPr>
          <p:cNvPicPr>
            <a:picLocks noChangeAspect="1"/>
          </p:cNvPicPr>
          <p:nvPr/>
        </p:nvPicPr>
        <p:blipFill>
          <a:blip r:embed="rId4"/>
          <a:stretch>
            <a:fillRect/>
          </a:stretch>
        </p:blipFill>
        <p:spPr>
          <a:xfrm>
            <a:off x="6661214" y="576943"/>
            <a:ext cx="4751666" cy="5428685"/>
          </a:xfrm>
          <a:prstGeom prst="rect">
            <a:avLst/>
          </a:prstGeom>
        </p:spPr>
      </p:pic>
    </p:spTree>
    <p:extLst>
      <p:ext uri="{BB962C8B-B14F-4D97-AF65-F5344CB8AC3E}">
        <p14:creationId xmlns:p14="http://schemas.microsoft.com/office/powerpoint/2010/main" val="9646831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FFEFF1AC-5A52-4D36-B379-1AD98FCF8021}"/>
              </a:ext>
            </a:extLst>
          </p:cNvPr>
          <p:cNvGrpSpPr/>
          <p:nvPr/>
        </p:nvGrpSpPr>
        <p:grpSpPr>
          <a:xfrm>
            <a:off x="1" y="-15100"/>
            <a:ext cx="5540798" cy="6858000"/>
            <a:chOff x="6609059" y="1126986"/>
            <a:chExt cx="3022087" cy="6858000"/>
          </a:xfrm>
        </p:grpSpPr>
        <p:sp>
          <p:nvSpPr>
            <p:cNvPr id="20" name="Rectangle 19">
              <a:extLst>
                <a:ext uri="{FF2B5EF4-FFF2-40B4-BE49-F238E27FC236}">
                  <a16:creationId xmlns:a16="http://schemas.microsoft.com/office/drawing/2014/main" id="{861BE201-86C3-4ACC-90A9-5C449E8BDC4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itle 1">
              <a:extLst>
                <a:ext uri="{FF2B5EF4-FFF2-40B4-BE49-F238E27FC236}">
                  <a16:creationId xmlns:a16="http://schemas.microsoft.com/office/drawing/2014/main" id="{B4F9BB81-C607-424A-927D-FBBFA4114ECA}"/>
                </a:ext>
              </a:extLst>
            </p:cNvPr>
            <p:cNvSpPr txBox="1">
              <a:spLocks/>
            </p:cNvSpPr>
            <p:nvPr/>
          </p:nvSpPr>
          <p:spPr>
            <a:xfrm>
              <a:off x="6686569" y="1283033"/>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understand risk?</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5" name="Straight Connector 24">
              <a:extLst>
                <a:ext uri="{FF2B5EF4-FFF2-40B4-BE49-F238E27FC236}">
                  <a16:creationId xmlns:a16="http://schemas.microsoft.com/office/drawing/2014/main" id="{FF54FC8B-6847-4D1A-BB6B-B435EA9E6D4E}"/>
                </a:ext>
              </a:extLst>
            </p:cNvPr>
            <p:cNvCxnSpPr/>
            <p:nvPr/>
          </p:nvCxnSpPr>
          <p:spPr>
            <a:xfrm>
              <a:off x="6748238" y="239588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6" name="TextBox 25">
            <a:extLst>
              <a:ext uri="{FF2B5EF4-FFF2-40B4-BE49-F238E27FC236}">
                <a16:creationId xmlns:a16="http://schemas.microsoft.com/office/drawing/2014/main" id="{FFB93C77-53F0-46B8-BEDE-E4AE5E924FE4}"/>
              </a:ext>
            </a:extLst>
          </p:cNvPr>
          <p:cNvSpPr txBox="1"/>
          <p:nvPr/>
        </p:nvSpPr>
        <p:spPr>
          <a:xfrm>
            <a:off x="196034" y="1417208"/>
            <a:ext cx="5197853" cy="1754326"/>
          </a:xfrm>
          <a:prstGeom prst="rect">
            <a:avLst/>
          </a:prstGeom>
          <a:noFill/>
        </p:spPr>
        <p:txBody>
          <a:bodyPr wrap="square" rtlCol="0">
            <a:spAutoFit/>
          </a:bodyPr>
          <a:lstStyle/>
          <a:p>
            <a:r>
              <a:rPr lang="en-US" b="1" dirty="0">
                <a:solidFill>
                  <a:schemeClr val="bg1"/>
                </a:solidFill>
                <a:latin typeface="GT America" panose="00000500000000000000"/>
              </a:rPr>
              <a:t>Reported understanding of COVID-19 transmission and asymptomatic carriage among respondents in Liberia was some of the lowest in the Western region. Respondents in Liberia also reported the lowest levels of belief in the efficacy of herbal remedies to cure COVID-19. </a:t>
            </a:r>
          </a:p>
        </p:txBody>
      </p:sp>
      <p:sp>
        <p:nvSpPr>
          <p:cNvPr id="27" name="TextBox 26">
            <a:extLst>
              <a:ext uri="{FF2B5EF4-FFF2-40B4-BE49-F238E27FC236}">
                <a16:creationId xmlns:a16="http://schemas.microsoft.com/office/drawing/2014/main" id="{A6BCF9CC-AF9C-4B01-A6F5-D3BF62B405BB}"/>
              </a:ext>
            </a:extLst>
          </p:cNvPr>
          <p:cNvSpPr txBox="1"/>
          <p:nvPr/>
        </p:nvSpPr>
        <p:spPr>
          <a:xfrm>
            <a:off x="133720" y="3821049"/>
            <a:ext cx="5197853" cy="1708160"/>
          </a:xfrm>
          <a:prstGeom prst="rect">
            <a:avLst/>
          </a:prstGeom>
          <a:noFill/>
        </p:spPr>
        <p:txBody>
          <a:bodyPr wrap="square" rtlCol="0">
            <a:spAutoFit/>
          </a:bodyPr>
          <a:lstStyle/>
          <a:p>
            <a:r>
              <a:rPr lang="en-US" sz="1750" b="1"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b="0" i="0" dirty="0">
                <a:solidFill>
                  <a:schemeClr val="bg1">
                    <a:lumMod val="85000"/>
                  </a:schemeClr>
                </a:solidFill>
                <a:effectLst/>
                <a:latin typeface="GTAmerica"/>
              </a:rPr>
              <a:t>Rural and higher-income respondents were more likely than urban and lower-income respondents to report a belief in the efficacy of herbal remedies (40% for rural vs. 30% for urban; 41% high income vs. 31% for low income). </a:t>
            </a:r>
            <a:endParaRPr lang="en-US" sz="1750" dirty="0">
              <a:solidFill>
                <a:schemeClr val="bg1">
                  <a:lumMod val="85000"/>
                </a:schemeClr>
              </a:solidFill>
              <a:latin typeface="GT America" panose="00000500000000000000"/>
            </a:endParaRPr>
          </a:p>
        </p:txBody>
      </p:sp>
      <p:sp>
        <p:nvSpPr>
          <p:cNvPr id="13" name="Rectangle 12">
            <a:extLst>
              <a:ext uri="{FF2B5EF4-FFF2-40B4-BE49-F238E27FC236}">
                <a16:creationId xmlns:a16="http://schemas.microsoft.com/office/drawing/2014/main" id="{0E36AC74-588C-49F3-994A-987419B7CB41}"/>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4" name="Picture 13">
            <a:extLst>
              <a:ext uri="{FF2B5EF4-FFF2-40B4-BE49-F238E27FC236}">
                <a16:creationId xmlns:a16="http://schemas.microsoft.com/office/drawing/2014/main" id="{7DF567E4-1605-427D-A5D7-E27BDA35C58C}"/>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3" name="Picture 2">
            <a:extLst>
              <a:ext uri="{FF2B5EF4-FFF2-40B4-BE49-F238E27FC236}">
                <a16:creationId xmlns:a16="http://schemas.microsoft.com/office/drawing/2014/main" id="{FF76FD5D-8C09-43E7-B673-82C8BC71FF16}"/>
              </a:ext>
            </a:extLst>
          </p:cNvPr>
          <p:cNvPicPr>
            <a:picLocks noChangeAspect="1"/>
          </p:cNvPicPr>
          <p:nvPr/>
        </p:nvPicPr>
        <p:blipFill>
          <a:blip r:embed="rId4"/>
          <a:stretch>
            <a:fillRect/>
          </a:stretch>
        </p:blipFill>
        <p:spPr>
          <a:xfrm>
            <a:off x="6300813" y="937093"/>
            <a:ext cx="5236234" cy="4386021"/>
          </a:xfrm>
          <a:prstGeom prst="rect">
            <a:avLst/>
          </a:prstGeom>
        </p:spPr>
      </p:pic>
    </p:spTree>
    <p:extLst>
      <p:ext uri="{BB962C8B-B14F-4D97-AF65-F5344CB8AC3E}">
        <p14:creationId xmlns:p14="http://schemas.microsoft.com/office/powerpoint/2010/main" val="60684620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FEEB191F-0EC5-4B0D-913B-5A46502C20F1}"/>
              </a:ext>
            </a:extLst>
          </p:cNvPr>
          <p:cNvGrpSpPr/>
          <p:nvPr/>
        </p:nvGrpSpPr>
        <p:grpSpPr>
          <a:xfrm>
            <a:off x="-36902" y="0"/>
            <a:ext cx="5635859" cy="6858000"/>
            <a:chOff x="6609059" y="1126986"/>
            <a:chExt cx="3059087" cy="6858000"/>
          </a:xfrm>
        </p:grpSpPr>
        <p:sp>
          <p:nvSpPr>
            <p:cNvPr id="24" name="Rectangle 23">
              <a:extLst>
                <a:ext uri="{FF2B5EF4-FFF2-40B4-BE49-F238E27FC236}">
                  <a16:creationId xmlns:a16="http://schemas.microsoft.com/office/drawing/2014/main" id="{62A1D2E1-D900-49A5-B780-F893741DB6F0}"/>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a:extLst>
                <a:ext uri="{FF2B5EF4-FFF2-40B4-BE49-F238E27FC236}">
                  <a16:creationId xmlns:a16="http://schemas.microsoft.com/office/drawing/2014/main" id="{73E65CC0-3EC1-40DB-A0E2-FB904C10D080}"/>
                </a:ext>
              </a:extLst>
            </p:cNvPr>
            <p:cNvSpPr txBox="1">
              <a:spLocks/>
            </p:cNvSpPr>
            <p:nvPr/>
          </p:nvSpPr>
          <p:spPr>
            <a:xfrm>
              <a:off x="6646971" y="1319584"/>
              <a:ext cx="3021175"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How do people feel about resuming activiti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30" name="Straight Connector 29">
              <a:extLst>
                <a:ext uri="{FF2B5EF4-FFF2-40B4-BE49-F238E27FC236}">
                  <a16:creationId xmlns:a16="http://schemas.microsoft.com/office/drawing/2014/main" id="{FC562526-FB97-4CF4-ACDB-481BB1CCE6BD}"/>
                </a:ext>
              </a:extLst>
            </p:cNvPr>
            <p:cNvCxnSpPr/>
            <p:nvPr/>
          </p:nvCxnSpPr>
          <p:spPr>
            <a:xfrm>
              <a:off x="6717343" y="2451332"/>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4E55ED66-CD27-4CED-AE5B-18B971165F86}"/>
              </a:ext>
            </a:extLst>
          </p:cNvPr>
          <p:cNvSpPr txBox="1"/>
          <p:nvPr/>
        </p:nvSpPr>
        <p:spPr>
          <a:xfrm>
            <a:off x="162593" y="1607850"/>
            <a:ext cx="5168696" cy="1200329"/>
          </a:xfrm>
          <a:prstGeom prst="rect">
            <a:avLst/>
          </a:prstGeom>
          <a:noFill/>
        </p:spPr>
        <p:txBody>
          <a:bodyPr wrap="square" rtlCol="0">
            <a:spAutoFit/>
          </a:bodyPr>
          <a:lstStyle/>
          <a:p>
            <a:r>
              <a:rPr lang="en-US" b="1" dirty="0">
                <a:solidFill>
                  <a:schemeClr val="bg1"/>
                </a:solidFill>
                <a:latin typeface="GT America" panose="00000500000000000000"/>
              </a:rPr>
              <a:t>More than three-fourths of respondents felt anxious about resuming normal activities (77%). Despite this, an almost equal number of respondents (74%) reported having already resumed daily activities. </a:t>
            </a:r>
          </a:p>
        </p:txBody>
      </p:sp>
      <p:sp>
        <p:nvSpPr>
          <p:cNvPr id="32" name="TextBox 31">
            <a:extLst>
              <a:ext uri="{FF2B5EF4-FFF2-40B4-BE49-F238E27FC236}">
                <a16:creationId xmlns:a16="http://schemas.microsoft.com/office/drawing/2014/main" id="{3A5453CC-98EA-4B03-8C72-535C882BAC36}"/>
              </a:ext>
            </a:extLst>
          </p:cNvPr>
          <p:cNvSpPr txBox="1"/>
          <p:nvPr/>
        </p:nvSpPr>
        <p:spPr>
          <a:xfrm>
            <a:off x="162593" y="3561475"/>
            <a:ext cx="5168696" cy="1708160"/>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More respondents reporting no income loss since the pandemic began have resumed normal activities (79%) than those who lost all (66%) or some (74%) of their income, suggesting motivations beyond economic necessity. </a:t>
            </a:r>
          </a:p>
        </p:txBody>
      </p:sp>
      <p:sp>
        <p:nvSpPr>
          <p:cNvPr id="11" name="Rectangle 10">
            <a:extLst>
              <a:ext uri="{FF2B5EF4-FFF2-40B4-BE49-F238E27FC236}">
                <a16:creationId xmlns:a16="http://schemas.microsoft.com/office/drawing/2014/main" id="{AF5FECB2-AB16-40D7-B40A-4607B82E5A1A}"/>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2" name="Picture 11">
            <a:extLst>
              <a:ext uri="{FF2B5EF4-FFF2-40B4-BE49-F238E27FC236}">
                <a16:creationId xmlns:a16="http://schemas.microsoft.com/office/drawing/2014/main" id="{C77A9843-59B2-464C-BA63-1CC7AF5D85B3}"/>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4" name="Picture 3">
            <a:extLst>
              <a:ext uri="{FF2B5EF4-FFF2-40B4-BE49-F238E27FC236}">
                <a16:creationId xmlns:a16="http://schemas.microsoft.com/office/drawing/2014/main" id="{BB98E6B5-4F56-4121-9A04-153EFDBF510C}"/>
              </a:ext>
            </a:extLst>
          </p:cNvPr>
          <p:cNvPicPr>
            <a:picLocks noChangeAspect="1"/>
          </p:cNvPicPr>
          <p:nvPr/>
        </p:nvPicPr>
        <p:blipFill>
          <a:blip r:embed="rId4"/>
          <a:stretch>
            <a:fillRect/>
          </a:stretch>
        </p:blipFill>
        <p:spPr>
          <a:xfrm>
            <a:off x="6977742" y="255814"/>
            <a:ext cx="4005943" cy="6346372"/>
          </a:xfrm>
          <a:prstGeom prst="rect">
            <a:avLst/>
          </a:prstGeom>
        </p:spPr>
      </p:pic>
    </p:spTree>
    <p:extLst>
      <p:ext uri="{BB962C8B-B14F-4D97-AF65-F5344CB8AC3E}">
        <p14:creationId xmlns:p14="http://schemas.microsoft.com/office/powerpoint/2010/main" val="8594113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CF7E6C32-FAB4-417B-B5EB-59C1B7D1FFEB}"/>
              </a:ext>
            </a:extLst>
          </p:cNvPr>
          <p:cNvGrpSpPr/>
          <p:nvPr/>
        </p:nvGrpSpPr>
        <p:grpSpPr>
          <a:xfrm>
            <a:off x="1" y="0"/>
            <a:ext cx="5540798" cy="6858000"/>
            <a:chOff x="6609059" y="1126986"/>
            <a:chExt cx="3022087" cy="6858000"/>
          </a:xfrm>
        </p:grpSpPr>
        <p:sp>
          <p:nvSpPr>
            <p:cNvPr id="14" name="Rectangle 13">
              <a:extLst>
                <a:ext uri="{FF2B5EF4-FFF2-40B4-BE49-F238E27FC236}">
                  <a16:creationId xmlns:a16="http://schemas.microsoft.com/office/drawing/2014/main" id="{F33D6707-F984-491A-8B95-4E71AE1DEDA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44251CEA-A59D-4427-8D77-11A2537B37FC}"/>
                </a:ext>
              </a:extLst>
            </p:cNvPr>
            <p:cNvSpPr txBox="1">
              <a:spLocks/>
            </p:cNvSpPr>
            <p:nvPr/>
          </p:nvSpPr>
          <p:spPr>
            <a:xfrm>
              <a:off x="6687878" y="1296905"/>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What do people think about vaccine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59FE522B-8612-4912-9A3F-D3343E14892C}"/>
                </a:ext>
              </a:extLst>
            </p:cNvPr>
            <p:cNvCxnSpPr/>
            <p:nvPr/>
          </p:nvCxnSpPr>
          <p:spPr>
            <a:xfrm>
              <a:off x="6767152" y="247128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EBDF8537-9AB1-4D10-816F-9ABBDC143BC7}"/>
              </a:ext>
            </a:extLst>
          </p:cNvPr>
          <p:cNvSpPr txBox="1"/>
          <p:nvPr/>
        </p:nvSpPr>
        <p:spPr>
          <a:xfrm>
            <a:off x="206998" y="1448544"/>
            <a:ext cx="5189290" cy="923330"/>
          </a:xfrm>
          <a:prstGeom prst="rect">
            <a:avLst/>
          </a:prstGeom>
          <a:noFill/>
        </p:spPr>
        <p:txBody>
          <a:bodyPr wrap="square" rtlCol="0">
            <a:spAutoFit/>
          </a:bodyPr>
          <a:lstStyle/>
          <a:p>
            <a:r>
              <a:rPr lang="en-US" b="1" dirty="0">
                <a:solidFill>
                  <a:schemeClr val="bg1"/>
                </a:solidFill>
                <a:latin typeface="GT America" panose="00000500000000000000"/>
              </a:rPr>
              <a:t>The majority of respondents in Liberia would definitely or probably get a COVID-19 vaccine (70%), on par with regional findings (68%).</a:t>
            </a:r>
          </a:p>
        </p:txBody>
      </p:sp>
      <p:sp>
        <p:nvSpPr>
          <p:cNvPr id="22" name="TextBox 21">
            <a:extLst>
              <a:ext uri="{FF2B5EF4-FFF2-40B4-BE49-F238E27FC236}">
                <a16:creationId xmlns:a16="http://schemas.microsoft.com/office/drawing/2014/main" id="{AFE6C7D0-8C91-4740-BBDB-55C46095BBC6}"/>
              </a:ext>
            </a:extLst>
          </p:cNvPr>
          <p:cNvSpPr txBox="1"/>
          <p:nvPr/>
        </p:nvSpPr>
        <p:spPr>
          <a:xfrm>
            <a:off x="219085" y="3427781"/>
            <a:ext cx="4989698" cy="2246769"/>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Among respondents who did not plan to get vaccinated, about one in three (34%) stated they needed more informatio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In line with the low reported personal risk perception, about one in four respondents said they did not need the vaccine because they were not at risk of catching COVID-19.</a:t>
            </a:r>
          </a:p>
        </p:txBody>
      </p:sp>
      <p:sp>
        <p:nvSpPr>
          <p:cNvPr id="12" name="Rectangle 11">
            <a:extLst>
              <a:ext uri="{FF2B5EF4-FFF2-40B4-BE49-F238E27FC236}">
                <a16:creationId xmlns:a16="http://schemas.microsoft.com/office/drawing/2014/main" id="{2B01A900-17AF-45F6-B60C-5BE6BC9DA3B3}"/>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38F7D3E5-415D-4259-8E22-57899E9BA662}"/>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3" name="Picture 2">
            <a:extLst>
              <a:ext uri="{FF2B5EF4-FFF2-40B4-BE49-F238E27FC236}">
                <a16:creationId xmlns:a16="http://schemas.microsoft.com/office/drawing/2014/main" id="{C9F10966-DC6C-4DA9-ADFA-698E87FC88E3}"/>
              </a:ext>
            </a:extLst>
          </p:cNvPr>
          <p:cNvPicPr>
            <a:picLocks noChangeAspect="1"/>
          </p:cNvPicPr>
          <p:nvPr/>
        </p:nvPicPr>
        <p:blipFill>
          <a:blip r:embed="rId4"/>
          <a:stretch>
            <a:fillRect/>
          </a:stretch>
        </p:blipFill>
        <p:spPr>
          <a:xfrm>
            <a:off x="6379499" y="687673"/>
            <a:ext cx="4931229" cy="2797399"/>
          </a:xfrm>
          <a:prstGeom prst="rect">
            <a:avLst/>
          </a:prstGeom>
        </p:spPr>
      </p:pic>
      <p:pic>
        <p:nvPicPr>
          <p:cNvPr id="7" name="Picture 6">
            <a:extLst>
              <a:ext uri="{FF2B5EF4-FFF2-40B4-BE49-F238E27FC236}">
                <a16:creationId xmlns:a16="http://schemas.microsoft.com/office/drawing/2014/main" id="{C6250459-2FCF-4F5A-B5F8-7E486DE26B88}"/>
              </a:ext>
            </a:extLst>
          </p:cNvPr>
          <p:cNvPicPr>
            <a:picLocks noChangeAspect="1"/>
          </p:cNvPicPr>
          <p:nvPr/>
        </p:nvPicPr>
        <p:blipFill>
          <a:blip r:embed="rId5"/>
          <a:stretch>
            <a:fillRect/>
          </a:stretch>
        </p:blipFill>
        <p:spPr>
          <a:xfrm>
            <a:off x="6791582" y="3566906"/>
            <a:ext cx="4519146" cy="2603421"/>
          </a:xfrm>
          <a:prstGeom prst="rect">
            <a:avLst/>
          </a:prstGeom>
        </p:spPr>
      </p:pic>
    </p:spTree>
    <p:extLst>
      <p:ext uri="{BB962C8B-B14F-4D97-AF65-F5344CB8AC3E}">
        <p14:creationId xmlns:p14="http://schemas.microsoft.com/office/powerpoint/2010/main" val="6198891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Secondary Burden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211611"/>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510800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0AB8CE3B-C611-4815-A70F-BC2EEABE40E4}"/>
              </a:ext>
            </a:extLst>
          </p:cNvPr>
          <p:cNvGrpSpPr/>
          <p:nvPr/>
        </p:nvGrpSpPr>
        <p:grpSpPr>
          <a:xfrm>
            <a:off x="-1" y="0"/>
            <a:ext cx="5971558" cy="6858000"/>
            <a:chOff x="6609059" y="1126986"/>
            <a:chExt cx="3262929" cy="6858000"/>
          </a:xfrm>
        </p:grpSpPr>
        <p:sp>
          <p:nvSpPr>
            <p:cNvPr id="11" name="Rectangle 10">
              <a:extLst>
                <a:ext uri="{FF2B5EF4-FFF2-40B4-BE49-F238E27FC236}">
                  <a16:creationId xmlns:a16="http://schemas.microsoft.com/office/drawing/2014/main" id="{038B7CF2-D1DB-463C-B17D-CCEF7C52A7A2}"/>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C8217CC7-E033-4E72-947B-C9C47CA0B6E4}"/>
                </a:ext>
              </a:extLst>
            </p:cNvPr>
            <p:cNvSpPr txBox="1">
              <a:spLocks/>
            </p:cNvSpPr>
            <p:nvPr/>
          </p:nvSpPr>
          <p:spPr>
            <a:xfrm>
              <a:off x="6662052" y="1275067"/>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568E32EE-9BDA-4C0A-AE30-912307CB7DDC}"/>
                </a:ext>
              </a:extLst>
            </p:cNvPr>
            <p:cNvSpPr/>
            <p:nvPr/>
          </p:nvSpPr>
          <p:spPr>
            <a:xfrm>
              <a:off x="7627548" y="757760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EF5D0C85-5612-481D-A58F-FB0773FFBF30}"/>
                </a:ext>
              </a:extLst>
            </p:cNvPr>
            <p:cNvCxnSpPr/>
            <p:nvPr/>
          </p:nvCxnSpPr>
          <p:spPr>
            <a:xfrm>
              <a:off x="6763598" y="2450846"/>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8" name="TextBox 17">
            <a:extLst>
              <a:ext uri="{FF2B5EF4-FFF2-40B4-BE49-F238E27FC236}">
                <a16:creationId xmlns:a16="http://schemas.microsoft.com/office/drawing/2014/main" id="{A798D2B9-27F2-4F0E-ACFB-D23B9C762F80}"/>
              </a:ext>
            </a:extLst>
          </p:cNvPr>
          <p:cNvSpPr txBox="1"/>
          <p:nvPr/>
        </p:nvSpPr>
        <p:spPr>
          <a:xfrm>
            <a:off x="217129" y="1505955"/>
            <a:ext cx="5122143" cy="1754326"/>
          </a:xfrm>
          <a:prstGeom prst="rect">
            <a:avLst/>
          </a:prstGeom>
          <a:noFill/>
        </p:spPr>
        <p:txBody>
          <a:bodyPr wrap="square" rtlCol="0">
            <a:spAutoFit/>
          </a:bodyPr>
          <a:lstStyle/>
          <a:p>
            <a:r>
              <a:rPr lang="en-US" b="1" i="0">
                <a:solidFill>
                  <a:schemeClr val="bg1"/>
                </a:solidFill>
                <a:effectLst/>
                <a:latin typeface="GTAmerica"/>
              </a:rPr>
              <a:t>Among respondents who reported that they or someone in their household needed health care or medication, 28% skipped or delayed services in the previous six months and 65% reported difficulty obtaining medication in the previous three months—on par with findings from August 2020. </a:t>
            </a:r>
            <a:endParaRPr lang="en-US" b="1" dirty="0">
              <a:solidFill>
                <a:schemeClr val="bg1"/>
              </a:solidFill>
              <a:latin typeface="GTAmerica"/>
            </a:endParaRPr>
          </a:p>
        </p:txBody>
      </p:sp>
      <p:sp>
        <p:nvSpPr>
          <p:cNvPr id="19" name="TextBox 18">
            <a:extLst>
              <a:ext uri="{FF2B5EF4-FFF2-40B4-BE49-F238E27FC236}">
                <a16:creationId xmlns:a16="http://schemas.microsoft.com/office/drawing/2014/main" id="{73260903-7068-4FBF-8A10-90E9E3153B22}"/>
              </a:ext>
            </a:extLst>
          </p:cNvPr>
          <p:cNvSpPr txBox="1"/>
          <p:nvPr/>
        </p:nvSpPr>
        <p:spPr>
          <a:xfrm>
            <a:off x="5701363" y="419482"/>
            <a:ext cx="4101648" cy="461665"/>
          </a:xfrm>
          <a:prstGeom prst="rect">
            <a:avLst/>
          </a:prstGeom>
          <a:noFill/>
        </p:spPr>
        <p:txBody>
          <a:bodyPr wrap="square" rtlCol="0">
            <a:spAutoFit/>
          </a:bodyPr>
          <a:lstStyle/>
          <a:p>
            <a:r>
              <a:rPr lang="en-US" sz="2400" b="1" dirty="0">
                <a:solidFill>
                  <a:schemeClr val="bg2"/>
                </a:solidFill>
                <a:latin typeface="GT America" panose="00000500000000000000"/>
              </a:rPr>
              <a:t>Difficulty getting medicines</a:t>
            </a:r>
          </a:p>
        </p:txBody>
      </p:sp>
      <p:cxnSp>
        <p:nvCxnSpPr>
          <p:cNvPr id="20" name="Straight Connector 19">
            <a:extLst>
              <a:ext uri="{FF2B5EF4-FFF2-40B4-BE49-F238E27FC236}">
                <a16:creationId xmlns:a16="http://schemas.microsoft.com/office/drawing/2014/main" id="{9C31E14B-17C9-46EF-A861-C45ACADD5C78}"/>
              </a:ext>
            </a:extLst>
          </p:cNvPr>
          <p:cNvCxnSpPr>
            <a:cxnSpLocks/>
          </p:cNvCxnSpPr>
          <p:nvPr/>
        </p:nvCxnSpPr>
        <p:spPr>
          <a:xfrm>
            <a:off x="5753946" y="3198470"/>
            <a:ext cx="62484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05C93F9F-3B15-4154-A32D-6D2F738A5C93}"/>
              </a:ext>
            </a:extLst>
          </p:cNvPr>
          <p:cNvSpPr txBox="1"/>
          <p:nvPr/>
        </p:nvSpPr>
        <p:spPr>
          <a:xfrm>
            <a:off x="5701363" y="3504717"/>
            <a:ext cx="4613276" cy="461665"/>
          </a:xfrm>
          <a:prstGeom prst="rect">
            <a:avLst/>
          </a:prstGeom>
          <a:noFill/>
        </p:spPr>
        <p:txBody>
          <a:bodyPr wrap="square" rtlCol="0">
            <a:spAutoFit/>
          </a:bodyPr>
          <a:lstStyle/>
          <a:p>
            <a:r>
              <a:rPr lang="en-US" sz="2400" b="1" dirty="0">
                <a:solidFill>
                  <a:schemeClr val="bg2"/>
                </a:solidFill>
                <a:latin typeface="GT America" panose="00000500000000000000"/>
              </a:rPr>
              <a:t>Skipping or delaying health visits</a:t>
            </a:r>
          </a:p>
        </p:txBody>
      </p:sp>
      <p:pic>
        <p:nvPicPr>
          <p:cNvPr id="23" name="Picture 22">
            <a:extLst>
              <a:ext uri="{FF2B5EF4-FFF2-40B4-BE49-F238E27FC236}">
                <a16:creationId xmlns:a16="http://schemas.microsoft.com/office/drawing/2014/main" id="{E285F0EB-BBA8-4621-8DA6-D0DDC38C09B6}"/>
              </a:ext>
            </a:extLst>
          </p:cNvPr>
          <p:cNvPicPr>
            <a:picLocks noChangeAspect="1"/>
          </p:cNvPicPr>
          <p:nvPr/>
        </p:nvPicPr>
        <p:blipFill>
          <a:blip r:embed="rId3"/>
          <a:stretch>
            <a:fillRect/>
          </a:stretch>
        </p:blipFill>
        <p:spPr>
          <a:xfrm>
            <a:off x="-10010" y="6348807"/>
            <a:ext cx="1873969" cy="397288"/>
          </a:xfrm>
          <a:prstGeom prst="rect">
            <a:avLst/>
          </a:prstGeom>
        </p:spPr>
      </p:pic>
      <p:sp>
        <p:nvSpPr>
          <p:cNvPr id="24" name="TextBox 23">
            <a:extLst>
              <a:ext uri="{FF2B5EF4-FFF2-40B4-BE49-F238E27FC236}">
                <a16:creationId xmlns:a16="http://schemas.microsoft.com/office/drawing/2014/main" id="{98303402-DDA0-4322-8B0F-9DC5E04D3D0D}"/>
              </a:ext>
            </a:extLst>
          </p:cNvPr>
          <p:cNvSpPr txBox="1"/>
          <p:nvPr/>
        </p:nvSpPr>
        <p:spPr>
          <a:xfrm>
            <a:off x="204321" y="3630256"/>
            <a:ext cx="5122143" cy="2246769"/>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Respondents with high risk perception were more likely to skip or delay a health visit (32%) than those with low risk perception (25%). Respondents with high risk perception were also more likely to believe that health care workers should be avoided to prevent transmission, which may contribute to their greater tendency to skip or delay care.</a:t>
            </a:r>
          </a:p>
        </p:txBody>
      </p:sp>
      <p:pic>
        <p:nvPicPr>
          <p:cNvPr id="3" name="Picture 2">
            <a:extLst>
              <a:ext uri="{FF2B5EF4-FFF2-40B4-BE49-F238E27FC236}">
                <a16:creationId xmlns:a16="http://schemas.microsoft.com/office/drawing/2014/main" id="{C7770F68-CCEA-411E-8AB8-324B68FFB637}"/>
              </a:ext>
            </a:extLst>
          </p:cNvPr>
          <p:cNvPicPr>
            <a:picLocks noChangeAspect="1"/>
          </p:cNvPicPr>
          <p:nvPr/>
        </p:nvPicPr>
        <p:blipFill>
          <a:blip r:embed="rId4"/>
          <a:stretch>
            <a:fillRect/>
          </a:stretch>
        </p:blipFill>
        <p:spPr>
          <a:xfrm>
            <a:off x="5594622" y="1038288"/>
            <a:ext cx="6597378" cy="1868284"/>
          </a:xfrm>
          <a:prstGeom prst="rect">
            <a:avLst/>
          </a:prstGeom>
        </p:spPr>
      </p:pic>
      <p:pic>
        <p:nvPicPr>
          <p:cNvPr id="6" name="Picture 5">
            <a:extLst>
              <a:ext uri="{FF2B5EF4-FFF2-40B4-BE49-F238E27FC236}">
                <a16:creationId xmlns:a16="http://schemas.microsoft.com/office/drawing/2014/main" id="{44914D6F-DDBB-4146-A60A-282C5CE68507}"/>
              </a:ext>
            </a:extLst>
          </p:cNvPr>
          <p:cNvPicPr>
            <a:picLocks noChangeAspect="1"/>
          </p:cNvPicPr>
          <p:nvPr/>
        </p:nvPicPr>
        <p:blipFill>
          <a:blip r:embed="rId5"/>
          <a:stretch>
            <a:fillRect/>
          </a:stretch>
        </p:blipFill>
        <p:spPr>
          <a:xfrm>
            <a:off x="5673871" y="4194128"/>
            <a:ext cx="6499407" cy="1765271"/>
          </a:xfrm>
          <a:prstGeom prst="rect">
            <a:avLst/>
          </a:prstGeom>
        </p:spPr>
      </p:pic>
    </p:spTree>
    <p:extLst>
      <p:ext uri="{BB962C8B-B14F-4D97-AF65-F5344CB8AC3E}">
        <p14:creationId xmlns:p14="http://schemas.microsoft.com/office/powerpoint/2010/main" val="780480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596A8D6-EBAB-4410-A25E-95535278CD59}"/>
              </a:ext>
            </a:extLst>
          </p:cNvPr>
          <p:cNvPicPr>
            <a:picLocks noChangeAspect="1"/>
          </p:cNvPicPr>
          <p:nvPr/>
        </p:nvPicPr>
        <p:blipFill>
          <a:blip r:embed="rId2"/>
          <a:stretch>
            <a:fillRect/>
          </a:stretch>
        </p:blipFill>
        <p:spPr>
          <a:xfrm>
            <a:off x="614362" y="4429721"/>
            <a:ext cx="10963275" cy="2495550"/>
          </a:xfrm>
          <a:prstGeom prst="rect">
            <a:avLst/>
          </a:prstGeom>
        </p:spPr>
      </p:pic>
      <p:sp>
        <p:nvSpPr>
          <p:cNvPr id="2" name="Title 1">
            <a:extLst>
              <a:ext uri="{FF2B5EF4-FFF2-40B4-BE49-F238E27FC236}">
                <a16:creationId xmlns:a16="http://schemas.microsoft.com/office/drawing/2014/main" id="{C9B74E92-1778-498F-AB6D-308144985DF9}"/>
              </a:ext>
            </a:extLst>
          </p:cNvPr>
          <p:cNvSpPr>
            <a:spLocks noGrp="1"/>
          </p:cNvSpPr>
          <p:nvPr>
            <p:ph type="title"/>
          </p:nvPr>
        </p:nvSpPr>
        <p:spPr>
          <a:xfrm>
            <a:off x="264439" y="365127"/>
            <a:ext cx="11448135" cy="1325563"/>
          </a:xfrm>
        </p:spPr>
        <p:txBody>
          <a:bodyPr>
            <a:normAutofit/>
          </a:bodyPr>
          <a:lstStyle/>
          <a:p>
            <a:r>
              <a:rPr lang="en-US" sz="4000" dirty="0">
                <a:latin typeface="GT America"/>
              </a:rPr>
              <a:t>PERC Overview</a:t>
            </a:r>
          </a:p>
        </p:txBody>
      </p:sp>
      <p:sp>
        <p:nvSpPr>
          <p:cNvPr id="3" name="Content Placeholder 2">
            <a:extLst>
              <a:ext uri="{FF2B5EF4-FFF2-40B4-BE49-F238E27FC236}">
                <a16:creationId xmlns:a16="http://schemas.microsoft.com/office/drawing/2014/main" id="{18A972A7-88A4-44D4-89B8-FE44EB8D2F0C}"/>
              </a:ext>
            </a:extLst>
          </p:cNvPr>
          <p:cNvSpPr>
            <a:spLocks noGrp="1"/>
          </p:cNvSpPr>
          <p:nvPr>
            <p:ph idx="1"/>
          </p:nvPr>
        </p:nvSpPr>
        <p:spPr>
          <a:xfrm>
            <a:off x="264439" y="1685110"/>
            <a:ext cx="11834633" cy="4797244"/>
          </a:xfrm>
        </p:spPr>
        <p:txBody>
          <a:bodyPr vert="horz" lIns="91440" tIns="45720" rIns="91440" bIns="45720" rtlCol="0" anchor="t">
            <a:normAutofit/>
          </a:bodyPr>
          <a:lstStyle/>
          <a:p>
            <a:pPr marL="0" indent="0">
              <a:spcBef>
                <a:spcPts val="1600"/>
              </a:spcBef>
              <a:buNone/>
            </a:pPr>
            <a:r>
              <a:rPr lang="en-US" sz="2200" dirty="0">
                <a:latin typeface="GT America" panose="00000500000000000000"/>
              </a:rPr>
              <a:t>The </a:t>
            </a:r>
            <a:r>
              <a:rPr lang="en-US" sz="2200" b="1" dirty="0">
                <a:latin typeface="GT America" panose="00000500000000000000"/>
              </a:rPr>
              <a:t>Partnership for Evidence-Based Response to COVID-19</a:t>
            </a:r>
            <a:r>
              <a:rPr lang="en-US" sz="2200" dirty="0">
                <a:latin typeface="GT America" panose="00000500000000000000"/>
              </a:rPr>
              <a:t> (PERC) is a public-private partnership that supports evidence-based measures to reduce the impact of COVID-19 on African Union Member States.</a:t>
            </a:r>
          </a:p>
          <a:p>
            <a:pPr marL="0" indent="0">
              <a:spcBef>
                <a:spcPts val="1600"/>
              </a:spcBef>
              <a:buNone/>
            </a:pPr>
            <a:r>
              <a:rPr lang="en-US" sz="2200" dirty="0">
                <a:latin typeface="GT America" panose="00000500000000000000"/>
              </a:rPr>
              <a:t>PERC collects </a:t>
            </a:r>
            <a:r>
              <a:rPr lang="en-US" sz="2200" b="1" dirty="0">
                <a:latin typeface="GT America" panose="00000500000000000000"/>
              </a:rPr>
              <a:t>social, economic, epidemiological, population movement, and security data </a:t>
            </a:r>
            <a:r>
              <a:rPr lang="en-US" sz="2200" dirty="0">
                <a:latin typeface="GT America" panose="00000500000000000000"/>
              </a:rPr>
              <a:t>from 19 African Union Member States to help determine the acceptability, impact and effectiveness of public health and social measures for COVID-19.</a:t>
            </a:r>
          </a:p>
          <a:p>
            <a:pPr marL="0" indent="0">
              <a:spcBef>
                <a:spcPts val="1600"/>
              </a:spcBef>
              <a:buNone/>
            </a:pPr>
            <a:r>
              <a:rPr lang="en-US" sz="2200" dirty="0">
                <a:latin typeface="GT America" panose="00000500000000000000"/>
              </a:rPr>
              <a:t>This presentation focuses on findings from a telephone survey with 1,313 people conducted in February 2021. It is the third survey and analysis conducted since the pandemic began.</a:t>
            </a:r>
          </a:p>
        </p:txBody>
      </p:sp>
    </p:spTree>
    <p:extLst>
      <p:ext uri="{BB962C8B-B14F-4D97-AF65-F5344CB8AC3E}">
        <p14:creationId xmlns:p14="http://schemas.microsoft.com/office/powerpoint/2010/main" val="8956860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883CE7C-1E71-4CE2-889F-0FB9F48629D4}"/>
              </a:ext>
            </a:extLst>
          </p:cNvPr>
          <p:cNvGrpSpPr/>
          <p:nvPr/>
        </p:nvGrpSpPr>
        <p:grpSpPr>
          <a:xfrm>
            <a:off x="1" y="0"/>
            <a:ext cx="5540797" cy="6858000"/>
            <a:chOff x="0" y="0"/>
            <a:chExt cx="3022087" cy="6858000"/>
          </a:xfrm>
        </p:grpSpPr>
        <p:grpSp>
          <p:nvGrpSpPr>
            <p:cNvPr id="13" name="Group 12">
              <a:extLst>
                <a:ext uri="{FF2B5EF4-FFF2-40B4-BE49-F238E27FC236}">
                  <a16:creationId xmlns:a16="http://schemas.microsoft.com/office/drawing/2014/main" id="{6A492628-A165-4700-9CE6-CCF975DBB37C}"/>
                </a:ext>
              </a:extLst>
            </p:cNvPr>
            <p:cNvGrpSpPr/>
            <p:nvPr/>
          </p:nvGrpSpPr>
          <p:grpSpPr>
            <a:xfrm>
              <a:off x="0" y="0"/>
              <a:ext cx="3022087" cy="6858000"/>
              <a:chOff x="6609059" y="1126986"/>
              <a:chExt cx="3022087" cy="6858000"/>
            </a:xfrm>
          </p:grpSpPr>
          <p:sp>
            <p:nvSpPr>
              <p:cNvPr id="14" name="Rectangle 13">
                <a:extLst>
                  <a:ext uri="{FF2B5EF4-FFF2-40B4-BE49-F238E27FC236}">
                    <a16:creationId xmlns:a16="http://schemas.microsoft.com/office/drawing/2014/main" id="{5CCAEF73-AC05-4101-BEFF-C70491C12824}"/>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itle 1">
                <a:extLst>
                  <a:ext uri="{FF2B5EF4-FFF2-40B4-BE49-F238E27FC236}">
                    <a16:creationId xmlns:a16="http://schemas.microsoft.com/office/drawing/2014/main" id="{295D7357-8800-4BDC-A08A-1E51B40E8534}"/>
                  </a:ext>
                </a:extLst>
              </p:cNvPr>
              <p:cNvSpPr txBox="1">
                <a:spLocks/>
              </p:cNvSpPr>
              <p:nvPr/>
            </p:nvSpPr>
            <p:spPr>
              <a:xfrm>
                <a:off x="6704496" y="1296672"/>
                <a:ext cx="286444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skipping or delaying healthcare?</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19" name="Straight Connector 18">
                <a:extLst>
                  <a:ext uri="{FF2B5EF4-FFF2-40B4-BE49-F238E27FC236}">
                    <a16:creationId xmlns:a16="http://schemas.microsoft.com/office/drawing/2014/main" id="{AA874E94-458C-4A43-8B48-E4CB6ED42930}"/>
                  </a:ext>
                </a:extLst>
              </p:cNvPr>
              <p:cNvCxnSpPr/>
              <p:nvPr/>
            </p:nvCxnSpPr>
            <p:spPr>
              <a:xfrm>
                <a:off x="6784697" y="2505805"/>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DCCD9F64-2556-4D1B-B880-24A01F81A86B}"/>
                </a:ext>
              </a:extLst>
            </p:cNvPr>
            <p:cNvSpPr txBox="1"/>
            <p:nvPr/>
          </p:nvSpPr>
          <p:spPr>
            <a:xfrm>
              <a:off x="99764" y="1483730"/>
              <a:ext cx="2822558" cy="1200329"/>
            </a:xfrm>
            <a:prstGeom prst="rect">
              <a:avLst/>
            </a:prstGeom>
            <a:noFill/>
          </p:spPr>
          <p:txBody>
            <a:bodyPr wrap="square" rtlCol="0">
              <a:spAutoFit/>
            </a:bodyPr>
            <a:lstStyle/>
            <a:p>
              <a:r>
                <a:rPr lang="en-US" b="1" dirty="0">
                  <a:solidFill>
                    <a:schemeClr val="bg1"/>
                  </a:solidFill>
                  <a:latin typeface="GT America" panose="00000500000000000000"/>
                </a:rPr>
                <a:t>The cost of health visits was the most common reason cited for skipping or delaying needed care (26%). Most missed visits were for general or routine care (51%).</a:t>
              </a:r>
            </a:p>
          </p:txBody>
        </p:sp>
      </p:grpSp>
      <p:sp>
        <p:nvSpPr>
          <p:cNvPr id="21" name="TextBox 20">
            <a:extLst>
              <a:ext uri="{FF2B5EF4-FFF2-40B4-BE49-F238E27FC236}">
                <a16:creationId xmlns:a16="http://schemas.microsoft.com/office/drawing/2014/main" id="{28CD3BA7-B239-44A2-B01F-22EEE0AE35D0}"/>
              </a:ext>
            </a:extLst>
          </p:cNvPr>
          <p:cNvSpPr txBox="1"/>
          <p:nvPr/>
        </p:nvSpPr>
        <p:spPr>
          <a:xfrm>
            <a:off x="182912" y="3491344"/>
            <a:ext cx="4859256" cy="2246769"/>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b="0" i="0" dirty="0">
                <a:solidFill>
                  <a:schemeClr val="bg1">
                    <a:lumMod val="85000"/>
                  </a:schemeClr>
                </a:solidFill>
                <a:effectLst/>
                <a:latin typeface="GTAmerica"/>
              </a:rPr>
              <a:t>Among respondents reporting skipped health visits, 13% said they delayed treatment for fever/chills (common symptoms of COVID-19), an increase from 0% in August. Fever is also a potential sign of other diseases endemic to Liberia, including Lassa fever, of which there is currently a reported outbreak.</a:t>
            </a:r>
            <a:endParaRPr lang="en-US" sz="1750" dirty="0">
              <a:solidFill>
                <a:schemeClr val="bg1">
                  <a:lumMod val="85000"/>
                </a:schemeClr>
              </a:solidFill>
              <a:latin typeface="GT America" panose="00000500000000000000"/>
            </a:endParaRPr>
          </a:p>
        </p:txBody>
      </p:sp>
      <p:sp>
        <p:nvSpPr>
          <p:cNvPr id="12" name="Rectangle 11">
            <a:extLst>
              <a:ext uri="{FF2B5EF4-FFF2-40B4-BE49-F238E27FC236}">
                <a16:creationId xmlns:a16="http://schemas.microsoft.com/office/drawing/2014/main" id="{64724D60-B4E4-41F3-A53F-508CEFDAB52C}"/>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16" name="Picture 15">
            <a:extLst>
              <a:ext uri="{FF2B5EF4-FFF2-40B4-BE49-F238E27FC236}">
                <a16:creationId xmlns:a16="http://schemas.microsoft.com/office/drawing/2014/main" id="{D711C3EC-B899-44CA-9B46-34183C0F772A}"/>
              </a:ext>
            </a:extLst>
          </p:cNvPr>
          <p:cNvPicPr>
            <a:picLocks noChangeAspect="1"/>
          </p:cNvPicPr>
          <p:nvPr/>
        </p:nvPicPr>
        <p:blipFill>
          <a:blip r:embed="rId3"/>
          <a:stretch>
            <a:fillRect/>
          </a:stretch>
        </p:blipFill>
        <p:spPr>
          <a:xfrm>
            <a:off x="-10010" y="6348807"/>
            <a:ext cx="1873969" cy="397288"/>
          </a:xfrm>
          <a:prstGeom prst="rect">
            <a:avLst/>
          </a:prstGeom>
        </p:spPr>
      </p:pic>
      <p:pic>
        <p:nvPicPr>
          <p:cNvPr id="4" name="Picture 3">
            <a:extLst>
              <a:ext uri="{FF2B5EF4-FFF2-40B4-BE49-F238E27FC236}">
                <a16:creationId xmlns:a16="http://schemas.microsoft.com/office/drawing/2014/main" id="{D274F3B3-76C3-4DDE-9717-6435280CF762}"/>
              </a:ext>
            </a:extLst>
          </p:cNvPr>
          <p:cNvPicPr>
            <a:picLocks noChangeAspect="1"/>
          </p:cNvPicPr>
          <p:nvPr/>
        </p:nvPicPr>
        <p:blipFill>
          <a:blip r:embed="rId4"/>
          <a:stretch>
            <a:fillRect/>
          </a:stretch>
        </p:blipFill>
        <p:spPr>
          <a:xfrm>
            <a:off x="6789963" y="377245"/>
            <a:ext cx="4488515" cy="2860811"/>
          </a:xfrm>
          <a:prstGeom prst="rect">
            <a:avLst/>
          </a:prstGeom>
        </p:spPr>
      </p:pic>
      <p:pic>
        <p:nvPicPr>
          <p:cNvPr id="6" name="Picture 5">
            <a:extLst>
              <a:ext uri="{FF2B5EF4-FFF2-40B4-BE49-F238E27FC236}">
                <a16:creationId xmlns:a16="http://schemas.microsoft.com/office/drawing/2014/main" id="{D7A71E37-FC82-4BF7-8157-C7F9911E72B9}"/>
              </a:ext>
            </a:extLst>
          </p:cNvPr>
          <p:cNvPicPr>
            <a:picLocks noChangeAspect="1"/>
          </p:cNvPicPr>
          <p:nvPr/>
        </p:nvPicPr>
        <p:blipFill>
          <a:blip r:embed="rId5"/>
          <a:stretch>
            <a:fillRect/>
          </a:stretch>
        </p:blipFill>
        <p:spPr>
          <a:xfrm>
            <a:off x="6789964" y="3429000"/>
            <a:ext cx="4622271" cy="2860811"/>
          </a:xfrm>
          <a:prstGeom prst="rect">
            <a:avLst/>
          </a:prstGeom>
        </p:spPr>
      </p:pic>
    </p:spTree>
    <p:extLst>
      <p:ext uri="{BB962C8B-B14F-4D97-AF65-F5344CB8AC3E}">
        <p14:creationId xmlns:p14="http://schemas.microsoft.com/office/powerpoint/2010/main" val="21023423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3BDE90E5-A85F-4440-A39B-EA7688721BBA}"/>
              </a:ext>
            </a:extLst>
          </p:cNvPr>
          <p:cNvGrpSpPr/>
          <p:nvPr/>
        </p:nvGrpSpPr>
        <p:grpSpPr>
          <a:xfrm>
            <a:off x="14304" y="-13558"/>
            <a:ext cx="5678925" cy="6858000"/>
            <a:chOff x="6465" y="-13558"/>
            <a:chExt cx="3082377" cy="6858000"/>
          </a:xfrm>
        </p:grpSpPr>
        <p:grpSp>
          <p:nvGrpSpPr>
            <p:cNvPr id="14" name="Group 13">
              <a:extLst>
                <a:ext uri="{FF2B5EF4-FFF2-40B4-BE49-F238E27FC236}">
                  <a16:creationId xmlns:a16="http://schemas.microsoft.com/office/drawing/2014/main" id="{59B9E84F-0F68-4AAB-BB1E-FCE54010D729}"/>
                </a:ext>
              </a:extLst>
            </p:cNvPr>
            <p:cNvGrpSpPr/>
            <p:nvPr/>
          </p:nvGrpSpPr>
          <p:grpSpPr>
            <a:xfrm>
              <a:off x="6465" y="-13558"/>
              <a:ext cx="3082377" cy="6858000"/>
              <a:chOff x="6615524" y="1113428"/>
              <a:chExt cx="3082377" cy="6858000"/>
            </a:xfrm>
          </p:grpSpPr>
          <p:sp>
            <p:nvSpPr>
              <p:cNvPr id="17" name="Rectangle 16">
                <a:extLst>
                  <a:ext uri="{FF2B5EF4-FFF2-40B4-BE49-F238E27FC236}">
                    <a16:creationId xmlns:a16="http://schemas.microsoft.com/office/drawing/2014/main" id="{138AD285-82A6-42BD-BF44-28243B41D8B1}"/>
                  </a:ext>
                </a:extLst>
              </p:cNvPr>
              <p:cNvSpPr/>
              <p:nvPr/>
            </p:nvSpPr>
            <p:spPr>
              <a:xfrm>
                <a:off x="6615524" y="1113428"/>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Title 1">
                <a:extLst>
                  <a:ext uri="{FF2B5EF4-FFF2-40B4-BE49-F238E27FC236}">
                    <a16:creationId xmlns:a16="http://schemas.microsoft.com/office/drawing/2014/main" id="{34A9C33F-B40D-4C5E-89EE-AC0015370C50}"/>
                  </a:ext>
                </a:extLst>
              </p:cNvPr>
              <p:cNvSpPr txBox="1">
                <a:spLocks/>
              </p:cNvSpPr>
              <p:nvPr/>
            </p:nvSpPr>
            <p:spPr>
              <a:xfrm>
                <a:off x="6675815" y="1296973"/>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income loss?</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cxnSp>
            <p:nvCxnSpPr>
              <p:cNvPr id="21" name="Straight Connector 20">
                <a:extLst>
                  <a:ext uri="{FF2B5EF4-FFF2-40B4-BE49-F238E27FC236}">
                    <a16:creationId xmlns:a16="http://schemas.microsoft.com/office/drawing/2014/main" id="{47A41980-F7E0-4C4E-9DC9-7A8710600DF4}"/>
                  </a:ext>
                </a:extLst>
              </p:cNvPr>
              <p:cNvCxnSpPr/>
              <p:nvPr/>
            </p:nvCxnSpPr>
            <p:spPr>
              <a:xfrm>
                <a:off x="6731217" y="2584660"/>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5" name="TextBox 14">
              <a:extLst>
                <a:ext uri="{FF2B5EF4-FFF2-40B4-BE49-F238E27FC236}">
                  <a16:creationId xmlns:a16="http://schemas.microsoft.com/office/drawing/2014/main" id="{C50BBA43-50A2-41FA-8A6B-456717B482D3}"/>
                </a:ext>
              </a:extLst>
            </p:cNvPr>
            <p:cNvSpPr txBox="1"/>
            <p:nvPr/>
          </p:nvSpPr>
          <p:spPr>
            <a:xfrm>
              <a:off x="66756" y="1606359"/>
              <a:ext cx="2813064" cy="1200329"/>
            </a:xfrm>
            <a:prstGeom prst="rect">
              <a:avLst/>
            </a:prstGeom>
            <a:noFill/>
          </p:spPr>
          <p:txBody>
            <a:bodyPr wrap="square" rtlCol="0">
              <a:spAutoFit/>
            </a:bodyPr>
            <a:lstStyle/>
            <a:p>
              <a:r>
                <a:rPr lang="en-US" b="1" dirty="0">
                  <a:solidFill>
                    <a:schemeClr val="bg1"/>
                  </a:solidFill>
                  <a:effectLst/>
                  <a:latin typeface="GTAmerica"/>
                </a:rPr>
                <a:t>More than three-quarters of respondents reported losing some or all of their income since the start of the pandemic (78%), on par with the average in the Western Region (77%). </a:t>
              </a:r>
              <a:endParaRPr lang="en-US" b="1" dirty="0">
                <a:solidFill>
                  <a:schemeClr val="bg1"/>
                </a:solidFill>
                <a:latin typeface="GT America" panose="00000500000000000000"/>
              </a:endParaRPr>
            </a:p>
          </p:txBody>
        </p:sp>
      </p:grpSp>
      <p:sp>
        <p:nvSpPr>
          <p:cNvPr id="37" name="TextBox 36">
            <a:extLst>
              <a:ext uri="{FF2B5EF4-FFF2-40B4-BE49-F238E27FC236}">
                <a16:creationId xmlns:a16="http://schemas.microsoft.com/office/drawing/2014/main" id="{CC495CEE-B810-4F68-996A-5F28D93A2AA0}"/>
              </a:ext>
            </a:extLst>
          </p:cNvPr>
          <p:cNvSpPr txBox="1"/>
          <p:nvPr/>
        </p:nvSpPr>
        <p:spPr>
          <a:xfrm>
            <a:off x="329600" y="3054488"/>
            <a:ext cx="4774311" cy="3054682"/>
          </a:xfrm>
          <a:prstGeom prst="rect">
            <a:avLst/>
          </a:prstGeom>
          <a:noFill/>
        </p:spPr>
        <p:txBody>
          <a:bodyPr wrap="square" rtlCol="0">
            <a:spAutoFit/>
          </a:bodyPr>
          <a:lstStyle/>
          <a:p>
            <a:r>
              <a:rPr lang="en-US" sz="1750" b="1" i="0" dirty="0">
                <a:solidFill>
                  <a:schemeClr val="bg1">
                    <a:lumMod val="85000"/>
                  </a:schemeClr>
                </a:solidFill>
                <a:effectLst/>
                <a:latin typeface="GTAmerica"/>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The government, in partnership with international agencies, has been supporting some of the most vulnerable populations though cash transfers to women and the poor. </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Almost one in five respondents reported receiving government support of some kind (17%), a significant increase since August (7%). Women received two times more government support since August (16% vs. 8%). Most of this assistance was in the form of food.</a:t>
            </a:r>
          </a:p>
        </p:txBody>
      </p:sp>
      <p:pic>
        <p:nvPicPr>
          <p:cNvPr id="29" name="Picture 28">
            <a:extLst>
              <a:ext uri="{FF2B5EF4-FFF2-40B4-BE49-F238E27FC236}">
                <a16:creationId xmlns:a16="http://schemas.microsoft.com/office/drawing/2014/main" id="{60181A4F-F077-4732-B4D6-75ED78DC569C}"/>
              </a:ext>
            </a:extLst>
          </p:cNvPr>
          <p:cNvPicPr>
            <a:picLocks noChangeAspect="1"/>
          </p:cNvPicPr>
          <p:nvPr/>
        </p:nvPicPr>
        <p:blipFill>
          <a:blip r:embed="rId3"/>
          <a:stretch>
            <a:fillRect/>
          </a:stretch>
        </p:blipFill>
        <p:spPr>
          <a:xfrm>
            <a:off x="-10010" y="6348807"/>
            <a:ext cx="1873969" cy="397288"/>
          </a:xfrm>
          <a:prstGeom prst="rect">
            <a:avLst/>
          </a:prstGeom>
        </p:spPr>
      </p:pic>
      <p:sp>
        <p:nvSpPr>
          <p:cNvPr id="30" name="Rectangle 29">
            <a:extLst>
              <a:ext uri="{FF2B5EF4-FFF2-40B4-BE49-F238E27FC236}">
                <a16:creationId xmlns:a16="http://schemas.microsoft.com/office/drawing/2014/main" id="{B5A96745-A857-4D3B-A789-06130B25BC14}"/>
              </a:ext>
            </a:extLst>
          </p:cNvPr>
          <p:cNvSpPr/>
          <p:nvPr/>
        </p:nvSpPr>
        <p:spPr>
          <a:xfrm>
            <a:off x="1863959" y="6453717"/>
            <a:ext cx="4774311"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pic>
        <p:nvPicPr>
          <p:cNvPr id="3" name="Picture 2">
            <a:extLst>
              <a:ext uri="{FF2B5EF4-FFF2-40B4-BE49-F238E27FC236}">
                <a16:creationId xmlns:a16="http://schemas.microsoft.com/office/drawing/2014/main" id="{D0E25132-1CD7-4BB9-922F-1F273F1E3E8D}"/>
              </a:ext>
            </a:extLst>
          </p:cNvPr>
          <p:cNvPicPr>
            <a:picLocks noChangeAspect="1"/>
          </p:cNvPicPr>
          <p:nvPr/>
        </p:nvPicPr>
        <p:blipFill>
          <a:blip r:embed="rId4"/>
          <a:stretch>
            <a:fillRect/>
          </a:stretch>
        </p:blipFill>
        <p:spPr>
          <a:xfrm>
            <a:off x="6096000" y="649068"/>
            <a:ext cx="4980478" cy="2702904"/>
          </a:xfrm>
          <a:prstGeom prst="rect">
            <a:avLst/>
          </a:prstGeom>
        </p:spPr>
      </p:pic>
      <p:pic>
        <p:nvPicPr>
          <p:cNvPr id="6" name="Picture 5">
            <a:extLst>
              <a:ext uri="{FF2B5EF4-FFF2-40B4-BE49-F238E27FC236}">
                <a16:creationId xmlns:a16="http://schemas.microsoft.com/office/drawing/2014/main" id="{4132BDB5-4077-4C16-ABB4-86A3A3925F3A}"/>
              </a:ext>
            </a:extLst>
          </p:cNvPr>
          <p:cNvPicPr>
            <a:picLocks noChangeAspect="1"/>
          </p:cNvPicPr>
          <p:nvPr/>
        </p:nvPicPr>
        <p:blipFill>
          <a:blip r:embed="rId5"/>
          <a:stretch>
            <a:fillRect/>
          </a:stretch>
        </p:blipFill>
        <p:spPr>
          <a:xfrm>
            <a:off x="6542083" y="3773185"/>
            <a:ext cx="4894983" cy="1991437"/>
          </a:xfrm>
          <a:prstGeom prst="rect">
            <a:avLst/>
          </a:prstGeom>
        </p:spPr>
      </p:pic>
    </p:spTree>
    <p:extLst>
      <p:ext uri="{BB962C8B-B14F-4D97-AF65-F5344CB8AC3E}">
        <p14:creationId xmlns:p14="http://schemas.microsoft.com/office/powerpoint/2010/main" val="296607229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9C5BA357-DEA1-4800-9896-0D3583132A60}"/>
              </a:ext>
            </a:extLst>
          </p:cNvPr>
          <p:cNvSpPr>
            <a:spLocks noGrp="1"/>
          </p:cNvSpPr>
          <p:nvPr>
            <p:ph type="sldNum" sz="quarter" idx="14"/>
          </p:nvPr>
        </p:nvSpPr>
        <p:spPr/>
        <p:txBody>
          <a:bodyPr/>
          <a:lstStyle/>
          <a:p>
            <a:pPr>
              <a:defRPr/>
            </a:pPr>
            <a:fld id="{654BF1D4-C2E8-43FC-8EFA-04180D85A10F}" type="slidenum">
              <a:rPr lang="en-GB" smtClean="0"/>
              <a:pPr>
                <a:defRPr/>
              </a:pPr>
              <a:t>22</a:t>
            </a:fld>
            <a:r>
              <a:rPr lang="en-GB"/>
              <a:t> ‒ </a:t>
            </a:r>
            <a:endParaRPr lang="en-GB" dirty="0"/>
          </a:p>
        </p:txBody>
      </p:sp>
      <p:grpSp>
        <p:nvGrpSpPr>
          <p:cNvPr id="6" name="Group 5">
            <a:extLst>
              <a:ext uri="{FF2B5EF4-FFF2-40B4-BE49-F238E27FC236}">
                <a16:creationId xmlns:a16="http://schemas.microsoft.com/office/drawing/2014/main" id="{75B47221-1A8E-4D42-81B9-70B2B09382A1}"/>
              </a:ext>
            </a:extLst>
          </p:cNvPr>
          <p:cNvGrpSpPr/>
          <p:nvPr/>
        </p:nvGrpSpPr>
        <p:grpSpPr>
          <a:xfrm>
            <a:off x="9577" y="0"/>
            <a:ext cx="5618337" cy="6858000"/>
            <a:chOff x="0" y="0"/>
            <a:chExt cx="3082119" cy="6858000"/>
          </a:xfrm>
        </p:grpSpPr>
        <p:grpSp>
          <p:nvGrpSpPr>
            <p:cNvPr id="7" name="Group 6">
              <a:extLst>
                <a:ext uri="{FF2B5EF4-FFF2-40B4-BE49-F238E27FC236}">
                  <a16:creationId xmlns:a16="http://schemas.microsoft.com/office/drawing/2014/main" id="{A1F23612-115E-4861-9EA6-FA682AE2B42C}"/>
                </a:ext>
              </a:extLst>
            </p:cNvPr>
            <p:cNvGrpSpPr/>
            <p:nvPr/>
          </p:nvGrpSpPr>
          <p:grpSpPr>
            <a:xfrm>
              <a:off x="0" y="0"/>
              <a:ext cx="3082119" cy="6858000"/>
              <a:chOff x="6609059" y="1126986"/>
              <a:chExt cx="3082119" cy="6858000"/>
            </a:xfrm>
          </p:grpSpPr>
          <p:sp>
            <p:nvSpPr>
              <p:cNvPr id="9" name="Rectangle 8">
                <a:extLst>
                  <a:ext uri="{FF2B5EF4-FFF2-40B4-BE49-F238E27FC236}">
                    <a16:creationId xmlns:a16="http://schemas.microsoft.com/office/drawing/2014/main" id="{A910B6E0-AA35-4788-B996-086994706B4E}"/>
                  </a:ext>
                </a:extLst>
              </p:cNvPr>
              <p:cNvSpPr/>
              <p:nvPr/>
            </p:nvSpPr>
            <p:spPr>
              <a:xfrm>
                <a:off x="6609059" y="1126986"/>
                <a:ext cx="302208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6AFB3B64-35DC-4B01-8381-7AA17E0254C5}"/>
                  </a:ext>
                </a:extLst>
              </p:cNvPr>
              <p:cNvSpPr txBox="1">
                <a:spLocks/>
              </p:cNvSpPr>
              <p:nvPr/>
            </p:nvSpPr>
            <p:spPr>
              <a:xfrm>
                <a:off x="6669092" y="1261151"/>
                <a:ext cx="3022086"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3600" dirty="0">
                    <a:solidFill>
                      <a:srgbClr val="F4A62D"/>
                    </a:solidFill>
                    <a:latin typeface="HK Grotesk Black" panose="00000A00000000000000" pitchFamily="2" charset="0"/>
                  </a:rPr>
                  <a:t>Are people experiencing food insecurity?</a:t>
                </a:r>
                <a:endParaRPr kumimoji="0" lang="en-US" sz="36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1" name="Rectangle 10">
                <a:extLst>
                  <a:ext uri="{FF2B5EF4-FFF2-40B4-BE49-F238E27FC236}">
                    <a16:creationId xmlns:a16="http://schemas.microsoft.com/office/drawing/2014/main" id="{F2C36C41-2181-4FA6-B34D-C616E5D7BF21}"/>
                  </a:ext>
                </a:extLst>
              </p:cNvPr>
              <p:cNvSpPr/>
              <p:nvPr/>
            </p:nvSpPr>
            <p:spPr>
              <a:xfrm>
                <a:off x="7386706" y="7538750"/>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3" name="Straight Connector 12">
                <a:extLst>
                  <a:ext uri="{FF2B5EF4-FFF2-40B4-BE49-F238E27FC236}">
                    <a16:creationId xmlns:a16="http://schemas.microsoft.com/office/drawing/2014/main" id="{3DF26E1B-736D-4D66-89F0-AEAD981244C4}"/>
                  </a:ext>
                </a:extLst>
              </p:cNvPr>
              <p:cNvCxnSpPr/>
              <p:nvPr/>
            </p:nvCxnSpPr>
            <p:spPr>
              <a:xfrm>
                <a:off x="6723617" y="2450313"/>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8" name="TextBox 7">
              <a:extLst>
                <a:ext uri="{FF2B5EF4-FFF2-40B4-BE49-F238E27FC236}">
                  <a16:creationId xmlns:a16="http://schemas.microsoft.com/office/drawing/2014/main" id="{60035300-417A-4BDA-8A3C-88B9CAB661C9}"/>
                </a:ext>
              </a:extLst>
            </p:cNvPr>
            <p:cNvSpPr txBox="1"/>
            <p:nvPr/>
          </p:nvSpPr>
          <p:spPr>
            <a:xfrm>
              <a:off x="88239" y="1430371"/>
              <a:ext cx="2845608" cy="1754326"/>
            </a:xfrm>
            <a:prstGeom prst="rect">
              <a:avLst/>
            </a:prstGeom>
            <a:noFill/>
          </p:spPr>
          <p:txBody>
            <a:bodyPr wrap="square" rtlCol="0">
              <a:spAutoFit/>
            </a:bodyPr>
            <a:lstStyle/>
            <a:p>
              <a:r>
                <a:rPr lang="en-US" b="1" dirty="0">
                  <a:solidFill>
                    <a:schemeClr val="bg1"/>
                  </a:solidFill>
                  <a:latin typeface="GT America" panose="00000500000000000000"/>
                </a:rPr>
                <a:t>Almost two million Liberians (about 32% of the population) are moderately or severely food-insecure. Prices for staple foods were increasing before the pandemic due to inflation and currency depreciation, and COVID-19 has further exacerbated this issue.</a:t>
              </a:r>
            </a:p>
          </p:txBody>
        </p:sp>
      </p:grpSp>
      <p:sp>
        <p:nvSpPr>
          <p:cNvPr id="18" name="TextBox 17">
            <a:extLst>
              <a:ext uri="{FF2B5EF4-FFF2-40B4-BE49-F238E27FC236}">
                <a16:creationId xmlns:a16="http://schemas.microsoft.com/office/drawing/2014/main" id="{F5FF48A8-09F8-4161-8EC4-C0D8FB859FA8}"/>
              </a:ext>
            </a:extLst>
          </p:cNvPr>
          <p:cNvSpPr txBox="1"/>
          <p:nvPr/>
        </p:nvSpPr>
        <p:spPr>
          <a:xfrm>
            <a:off x="135762" y="3673304"/>
            <a:ext cx="5018316" cy="1708160"/>
          </a:xfrm>
          <a:prstGeom prst="rect">
            <a:avLst/>
          </a:prstGeom>
          <a:noFill/>
        </p:spPr>
        <p:txBody>
          <a:bodyPr wrap="square" rtlCol="0">
            <a:spAutoFit/>
          </a:bodyPr>
          <a:lstStyle/>
          <a:p>
            <a:r>
              <a:rPr lang="en-US" sz="1750" b="1" dirty="0">
                <a:solidFill>
                  <a:schemeClr val="bg1">
                    <a:lumMod val="85000"/>
                  </a:schemeClr>
                </a:solidFill>
                <a:latin typeface="GT America" panose="00000500000000000000"/>
              </a:rPr>
              <a:t>Data Breakdown:</a:t>
            </a:r>
          </a:p>
          <a:p>
            <a:pPr marL="285750" indent="-285750">
              <a:buFont typeface="Arial" panose="020B0604020202020204" pitchFamily="34" charset="0"/>
              <a:buChar char="•"/>
            </a:pPr>
            <a:r>
              <a:rPr lang="en-US" sz="1750" dirty="0">
                <a:solidFill>
                  <a:schemeClr val="bg1">
                    <a:lumMod val="85000"/>
                  </a:schemeClr>
                </a:solidFill>
                <a:latin typeface="GT America" panose="00000500000000000000"/>
              </a:rPr>
              <a:t>More lower-income respondents reported reducing the quantity of meals they usually eat (77%) than higher-income respondents (68%), illustrating the economic disparities in food security.</a:t>
            </a:r>
          </a:p>
        </p:txBody>
      </p:sp>
      <p:pic>
        <p:nvPicPr>
          <p:cNvPr id="16" name="Picture 15">
            <a:extLst>
              <a:ext uri="{FF2B5EF4-FFF2-40B4-BE49-F238E27FC236}">
                <a16:creationId xmlns:a16="http://schemas.microsoft.com/office/drawing/2014/main" id="{BB39F48A-8FDB-42DE-BDE5-C84969125B5E}"/>
              </a:ext>
            </a:extLst>
          </p:cNvPr>
          <p:cNvPicPr>
            <a:picLocks noChangeAspect="1"/>
          </p:cNvPicPr>
          <p:nvPr/>
        </p:nvPicPr>
        <p:blipFill>
          <a:blip r:embed="rId2"/>
          <a:stretch>
            <a:fillRect/>
          </a:stretch>
        </p:blipFill>
        <p:spPr>
          <a:xfrm>
            <a:off x="-10010" y="6348807"/>
            <a:ext cx="1873969" cy="397288"/>
          </a:xfrm>
          <a:prstGeom prst="rect">
            <a:avLst/>
          </a:prstGeom>
        </p:spPr>
      </p:pic>
      <p:pic>
        <p:nvPicPr>
          <p:cNvPr id="5" name="Picture 4">
            <a:extLst>
              <a:ext uri="{FF2B5EF4-FFF2-40B4-BE49-F238E27FC236}">
                <a16:creationId xmlns:a16="http://schemas.microsoft.com/office/drawing/2014/main" id="{DB497CE1-5B63-4963-8160-2424D4098C33}"/>
              </a:ext>
            </a:extLst>
          </p:cNvPr>
          <p:cNvPicPr>
            <a:picLocks noChangeAspect="1"/>
          </p:cNvPicPr>
          <p:nvPr/>
        </p:nvPicPr>
        <p:blipFill>
          <a:blip r:embed="rId3"/>
          <a:stretch>
            <a:fillRect/>
          </a:stretch>
        </p:blipFill>
        <p:spPr>
          <a:xfrm>
            <a:off x="6744100" y="134165"/>
            <a:ext cx="3891387" cy="2042978"/>
          </a:xfrm>
          <a:prstGeom prst="rect">
            <a:avLst/>
          </a:prstGeom>
        </p:spPr>
      </p:pic>
      <p:pic>
        <p:nvPicPr>
          <p:cNvPr id="14" name="Picture 13">
            <a:extLst>
              <a:ext uri="{FF2B5EF4-FFF2-40B4-BE49-F238E27FC236}">
                <a16:creationId xmlns:a16="http://schemas.microsoft.com/office/drawing/2014/main" id="{574ED2BE-F68F-4723-9084-45F755DF10B3}"/>
              </a:ext>
            </a:extLst>
          </p:cNvPr>
          <p:cNvPicPr>
            <a:picLocks noChangeAspect="1"/>
          </p:cNvPicPr>
          <p:nvPr/>
        </p:nvPicPr>
        <p:blipFill>
          <a:blip r:embed="rId4"/>
          <a:stretch>
            <a:fillRect/>
          </a:stretch>
        </p:blipFill>
        <p:spPr>
          <a:xfrm>
            <a:off x="7077551" y="2258404"/>
            <a:ext cx="3809864" cy="1497167"/>
          </a:xfrm>
          <a:prstGeom prst="rect">
            <a:avLst/>
          </a:prstGeom>
        </p:spPr>
      </p:pic>
      <p:pic>
        <p:nvPicPr>
          <p:cNvPr id="20" name="Picture 19">
            <a:extLst>
              <a:ext uri="{FF2B5EF4-FFF2-40B4-BE49-F238E27FC236}">
                <a16:creationId xmlns:a16="http://schemas.microsoft.com/office/drawing/2014/main" id="{E81D0BCC-D1D0-4A38-AE5E-9E38BF0CEC02}"/>
              </a:ext>
            </a:extLst>
          </p:cNvPr>
          <p:cNvPicPr>
            <a:picLocks noChangeAspect="1"/>
          </p:cNvPicPr>
          <p:nvPr/>
        </p:nvPicPr>
        <p:blipFill>
          <a:blip r:embed="rId5"/>
          <a:stretch>
            <a:fillRect/>
          </a:stretch>
        </p:blipFill>
        <p:spPr>
          <a:xfrm>
            <a:off x="7258720" y="3853856"/>
            <a:ext cx="3628695" cy="2730503"/>
          </a:xfrm>
          <a:prstGeom prst="rect">
            <a:avLst/>
          </a:prstGeom>
        </p:spPr>
      </p:pic>
    </p:spTree>
    <p:extLst>
      <p:ext uri="{BB962C8B-B14F-4D97-AF65-F5344CB8AC3E}">
        <p14:creationId xmlns:p14="http://schemas.microsoft.com/office/powerpoint/2010/main" val="8676041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Table of Contents</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089360" cy="5063568"/>
          </a:xfrm>
        </p:spPr>
        <p:txBody>
          <a:bodyPr>
            <a:normAutofit/>
          </a:bodyPr>
          <a:lstStyle/>
          <a:p>
            <a:pPr marL="514350" indent="-514350">
              <a:buFont typeface="+mj-lt"/>
              <a:buAutoNum type="romanUcPeriod"/>
            </a:pPr>
            <a:r>
              <a:rPr lang="en-US" sz="2400" b="1" i="0" dirty="0">
                <a:solidFill>
                  <a:srgbClr val="000000"/>
                </a:solidFill>
                <a:effectLst/>
                <a:latin typeface="HK Grotesk Medium" panose="00000600000000000000" pitchFamily="2" charset="0"/>
              </a:rPr>
              <a:t>Highlights</a:t>
            </a:r>
          </a:p>
          <a:p>
            <a:pPr marL="514350" indent="-514350">
              <a:buFont typeface="+mj-lt"/>
              <a:buAutoNum type="romanUcPeriod"/>
            </a:pPr>
            <a:r>
              <a:rPr lang="en-US" sz="2400" b="1" i="0" dirty="0">
                <a:solidFill>
                  <a:srgbClr val="000000"/>
                </a:solidFill>
                <a:effectLst/>
                <a:latin typeface="HK Grotesk Medium" panose="00000600000000000000" pitchFamily="2" charset="0"/>
              </a:rPr>
              <a:t>Disease Dynamics and PHSM Implementation</a:t>
            </a:r>
          </a:p>
          <a:p>
            <a:pPr marL="514350" indent="-514350">
              <a:buFont typeface="+mj-lt"/>
              <a:buAutoNum type="romanUcPeriod"/>
            </a:pPr>
            <a:r>
              <a:rPr lang="en-US" sz="2400" b="1" i="0" dirty="0">
                <a:solidFill>
                  <a:srgbClr val="000000"/>
                </a:solidFill>
                <a:effectLst/>
                <a:latin typeface="HK Grotesk Medium" panose="00000600000000000000" pitchFamily="2" charset="0"/>
              </a:rPr>
              <a:t>PSHM Support and Self-Reported Adherence</a:t>
            </a:r>
          </a:p>
          <a:p>
            <a:pPr marL="514350" indent="-514350">
              <a:buFont typeface="+mj-lt"/>
              <a:buAutoNum type="romanUcPeriod"/>
            </a:pPr>
            <a:r>
              <a:rPr lang="en-US" sz="2400" b="1" i="0" dirty="0">
                <a:solidFill>
                  <a:srgbClr val="000000"/>
                </a:solidFill>
                <a:effectLst/>
                <a:latin typeface="HK Grotesk Medium" panose="00000600000000000000" pitchFamily="2" charset="0"/>
              </a:rPr>
              <a:t>Risk Perceptions and Information</a:t>
            </a:r>
          </a:p>
          <a:p>
            <a:pPr marL="514350" indent="-514350">
              <a:buFont typeface="+mj-lt"/>
              <a:buAutoNum type="romanUcPeriod"/>
            </a:pPr>
            <a:r>
              <a:rPr lang="en-US" sz="2400" b="1" i="0" dirty="0">
                <a:solidFill>
                  <a:srgbClr val="000000"/>
                </a:solidFill>
                <a:effectLst/>
                <a:latin typeface="HK Grotesk Medium" panose="00000600000000000000" pitchFamily="2" charset="0"/>
              </a:rPr>
              <a:t>Secondary Burdens</a:t>
            </a:r>
          </a:p>
          <a:p>
            <a:endParaRPr lang="en-US" sz="2400" dirty="0">
              <a:latin typeface="HK Grotesk Medium" panose="00000600000000000000" pitchFamily="2" charset="0"/>
            </a:endParaRPr>
          </a:p>
        </p:txBody>
      </p:sp>
    </p:spTree>
    <p:extLst>
      <p:ext uri="{BB962C8B-B14F-4D97-AF65-F5344CB8AC3E}">
        <p14:creationId xmlns:p14="http://schemas.microsoft.com/office/powerpoint/2010/main" val="43237167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Highlights and Trend Analysis</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a:cxnSpLocks/>
          </p:cNvCxnSpPr>
          <p:nvPr/>
        </p:nvCxnSpPr>
        <p:spPr>
          <a:xfrm>
            <a:off x="777647" y="2960648"/>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34902601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February 2021 survey</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264440" y="1580225"/>
            <a:ext cx="11764274" cy="5063568"/>
          </a:xfrm>
        </p:spPr>
        <p:txBody>
          <a:bodyPr>
            <a:normAutofit lnSpcReduction="10000"/>
          </a:bodyPr>
          <a:lstStyle/>
          <a:p>
            <a:r>
              <a:rPr lang="en-US" sz="2400" b="0" i="0" dirty="0">
                <a:solidFill>
                  <a:srgbClr val="000000"/>
                </a:solidFill>
                <a:effectLst/>
                <a:latin typeface="HK Grotesk Medium" panose="00000600000000000000" pitchFamily="2" charset="0"/>
              </a:rPr>
              <a:t>Liberia has reported fewer cases of COVID-19 than other African Union Member States in the Western Region, with just over 2,000 in total as of February 2021. Incidence has remained low since the first wave of transmission in June 2020, although there was an uptick in December 2020 after nationwide senatorial elections. </a:t>
            </a:r>
          </a:p>
          <a:p>
            <a:r>
              <a:rPr lang="en-US" sz="2400" dirty="0">
                <a:latin typeface="HK Grotesk Medium" panose="00000600000000000000" pitchFamily="2" charset="0"/>
              </a:rPr>
              <a:t>While approximately three-quarters of respondents expressed trust in government institutions—including the president and the Ministry of Health—this is less than almost all other surveyed Member States in the Western region.</a:t>
            </a:r>
          </a:p>
          <a:p>
            <a:r>
              <a:rPr lang="en-US" sz="2400" dirty="0">
                <a:latin typeface="HK Grotesk Medium" panose="00000600000000000000" pitchFamily="2" charset="0"/>
              </a:rPr>
              <a:t>Despite fewer reported COVID-19 cases in Liberia, respondents reported higher levels of personal risk perception compared to the regional average. </a:t>
            </a:r>
          </a:p>
          <a:p>
            <a:r>
              <a:rPr lang="en-US" sz="2400" dirty="0">
                <a:latin typeface="HK Grotesk Medium" panose="00000600000000000000" pitchFamily="2" charset="0"/>
              </a:rPr>
              <a:t>Survey data showed meaningful economic disparities in accessing essential medical care in Liberia: respondents that lost some or all of their income since the start of the pandemic reported greater trouble accessing medication than those that lost no income. </a:t>
            </a:r>
          </a:p>
        </p:txBody>
      </p:sp>
    </p:spTree>
    <p:extLst>
      <p:ext uri="{BB962C8B-B14F-4D97-AF65-F5344CB8AC3E}">
        <p14:creationId xmlns:p14="http://schemas.microsoft.com/office/powerpoint/2010/main" val="35522666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Highlights: August 2020 to February 2021 Trend</a:t>
            </a:r>
          </a:p>
        </p:txBody>
      </p:sp>
      <p:sp>
        <p:nvSpPr>
          <p:cNvPr id="3" name="Content Placeholder 2">
            <a:extLst>
              <a:ext uri="{FF2B5EF4-FFF2-40B4-BE49-F238E27FC236}">
                <a16:creationId xmlns:a16="http://schemas.microsoft.com/office/drawing/2014/main" id="{5A29ED0A-F659-4E53-81D5-8CE131C21CFE}"/>
              </a:ext>
            </a:extLst>
          </p:cNvPr>
          <p:cNvSpPr>
            <a:spLocks noGrp="1"/>
          </p:cNvSpPr>
          <p:nvPr>
            <p:ph idx="1"/>
          </p:nvPr>
        </p:nvSpPr>
        <p:spPr>
          <a:xfrm>
            <a:off x="440436" y="1437921"/>
            <a:ext cx="11610050" cy="5174695"/>
          </a:xfrm>
        </p:spPr>
        <p:txBody>
          <a:bodyPr>
            <a:normAutofit fontScale="92500"/>
          </a:bodyPr>
          <a:lstStyle/>
          <a:p>
            <a:r>
              <a:rPr lang="en-US" b="0" i="0" dirty="0">
                <a:solidFill>
                  <a:srgbClr val="000000"/>
                </a:solidFill>
                <a:effectLst/>
                <a:latin typeface="HK Grotesk Medium" panose="00000600000000000000" pitchFamily="2" charset="0"/>
              </a:rPr>
              <a:t>Support for and self-reported adherence to all PHSMs have declined since August. Adherence to individual measures in particular has declined, with an 11 percentage point decrease in adherence overall. Low adherence may reflect the fact that few measures are mandatory in Liberia.</a:t>
            </a:r>
          </a:p>
          <a:p>
            <a:r>
              <a:rPr lang="en-US" b="0" i="0" dirty="0">
                <a:solidFill>
                  <a:srgbClr val="000000"/>
                </a:solidFill>
                <a:effectLst/>
                <a:latin typeface="HK Grotesk Medium" panose="00000600000000000000" pitchFamily="2" charset="0"/>
              </a:rPr>
              <a:t>Reported satisfaction with the government’s response was similar to August, but trust in nearly all institutions decreased. </a:t>
            </a:r>
          </a:p>
          <a:p>
            <a:r>
              <a:rPr lang="en-US" b="0" i="0" dirty="0">
                <a:solidFill>
                  <a:srgbClr val="000000"/>
                </a:solidFill>
                <a:effectLst/>
                <a:latin typeface="HK Grotesk Medium" panose="00000600000000000000" pitchFamily="2" charset="0"/>
              </a:rPr>
              <a:t>Almost three in five respondents (57%) believed that COVID-19 would affect their country, but far fewer (34%) believed they would personally be affected by the virus. Since August, perceived levels of risk have remained similar.</a:t>
            </a:r>
          </a:p>
          <a:p>
            <a:r>
              <a:rPr lang="en-US" b="0" i="0" dirty="0">
                <a:solidFill>
                  <a:srgbClr val="000000"/>
                </a:solidFill>
                <a:effectLst/>
                <a:latin typeface="HK Grotesk Medium" panose="00000600000000000000" pitchFamily="2" charset="0"/>
              </a:rPr>
              <a:t>The share of households that reported trouble accessing medication or skipping a needed health visit has remained the same since August 2020.</a:t>
            </a:r>
          </a:p>
          <a:p>
            <a:endParaRPr lang="en-US" b="0" i="0" dirty="0">
              <a:solidFill>
                <a:srgbClr val="000000"/>
              </a:solidFill>
              <a:effectLst/>
              <a:latin typeface="HK Grotesk Medium" panose="00000600000000000000" pitchFamily="2" charset="0"/>
            </a:endParaRPr>
          </a:p>
        </p:txBody>
      </p:sp>
    </p:spTree>
    <p:extLst>
      <p:ext uri="{BB962C8B-B14F-4D97-AF65-F5344CB8AC3E}">
        <p14:creationId xmlns:p14="http://schemas.microsoft.com/office/powerpoint/2010/main" val="35582062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78"/>
        <p:cNvGrpSpPr/>
        <p:nvPr/>
      </p:nvGrpSpPr>
      <p:grpSpPr>
        <a:xfrm>
          <a:off x="0" y="0"/>
          <a:ext cx="0" cy="0"/>
          <a:chOff x="0" y="0"/>
          <a:chExt cx="0" cy="0"/>
        </a:xfrm>
      </p:grpSpPr>
      <p:pic>
        <p:nvPicPr>
          <p:cNvPr id="13" name="Picture 8">
            <a:extLst>
              <a:ext uri="{FF2B5EF4-FFF2-40B4-BE49-F238E27FC236}">
                <a16:creationId xmlns:a16="http://schemas.microsoft.com/office/drawing/2014/main" id="{FE4C73AB-D43B-4679-B586-C66E30CF769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48780" y="2733220"/>
            <a:ext cx="9588153" cy="4165810"/>
          </a:xfrm>
          <a:prstGeom prst="rect">
            <a:avLst/>
          </a:prstGeom>
        </p:spPr>
      </p:pic>
      <p:graphicFrame>
        <p:nvGraphicFramePr>
          <p:cNvPr id="81" name="Google Shape;81;p15"/>
          <p:cNvGraphicFramePr/>
          <p:nvPr>
            <p:extLst>
              <p:ext uri="{D42A27DB-BD31-4B8C-83A1-F6EECF244321}">
                <p14:modId xmlns:p14="http://schemas.microsoft.com/office/powerpoint/2010/main" val="3860199114"/>
              </p:ext>
            </p:extLst>
          </p:nvPr>
        </p:nvGraphicFramePr>
        <p:xfrm>
          <a:off x="5242296" y="652622"/>
          <a:ext cx="6549267" cy="1676535"/>
        </p:xfrm>
        <a:graphic>
          <a:graphicData uri="http://schemas.openxmlformats.org/drawingml/2006/table">
            <a:tbl>
              <a:tblPr firstRow="1" bandRow="1">
                <a:noFill/>
              </a:tblPr>
              <a:tblGrid>
                <a:gridCol w="2923767">
                  <a:extLst>
                    <a:ext uri="{9D8B030D-6E8A-4147-A177-3AD203B41FA5}">
                      <a16:colId xmlns:a16="http://schemas.microsoft.com/office/drawing/2014/main" val="20000"/>
                    </a:ext>
                  </a:extLst>
                </a:gridCol>
                <a:gridCol w="1208500">
                  <a:extLst>
                    <a:ext uri="{9D8B030D-6E8A-4147-A177-3AD203B41FA5}">
                      <a16:colId xmlns:a16="http://schemas.microsoft.com/office/drawing/2014/main" val="20001"/>
                    </a:ext>
                  </a:extLst>
                </a:gridCol>
                <a:gridCol w="1208500">
                  <a:extLst>
                    <a:ext uri="{9D8B030D-6E8A-4147-A177-3AD203B41FA5}">
                      <a16:colId xmlns:a16="http://schemas.microsoft.com/office/drawing/2014/main" val="20002"/>
                    </a:ext>
                  </a:extLst>
                </a:gridCol>
                <a:gridCol w="1208500">
                  <a:extLst>
                    <a:ext uri="{9D8B030D-6E8A-4147-A177-3AD203B41FA5}">
                      <a16:colId xmlns:a16="http://schemas.microsoft.com/office/drawing/2014/main" val="20003"/>
                    </a:ext>
                  </a:extLst>
                </a:gridCol>
              </a:tblGrid>
              <a:tr h="335307">
                <a:tc>
                  <a:txBody>
                    <a:bodyPr/>
                    <a:lstStyle/>
                    <a:p>
                      <a:pPr marL="0" marR="0" lvl="0" indent="0" algn="l" rtl="0">
                        <a:spcBef>
                          <a:spcPts val="0"/>
                        </a:spcBef>
                        <a:spcAft>
                          <a:spcPts val="0"/>
                        </a:spcAft>
                        <a:buNone/>
                      </a:pPr>
                      <a:endParaRPr sz="1600" u="none" strike="noStrike" cap="none">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600" u="none" strike="noStrike" cap="none" dirty="0">
                          <a:solidFill>
                            <a:srgbClr val="434343"/>
                          </a:solidFill>
                          <a:latin typeface="Open Sans SemiBold"/>
                          <a:ea typeface="Open Sans SemiBold"/>
                          <a:cs typeface="Open Sans SemiBold"/>
                          <a:sym typeface="Open Sans SemiBold"/>
                        </a:rPr>
                        <a:t>Survey 2</a:t>
                      </a:r>
                      <a:endParaRPr sz="15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a:solidFill>
                            <a:srgbClr val="434343"/>
                          </a:solidFill>
                          <a:latin typeface="Open Sans SemiBold"/>
                          <a:ea typeface="Open Sans SemiBold"/>
                          <a:cs typeface="Open Sans SemiBold"/>
                          <a:sym typeface="Open Sans SemiBold"/>
                        </a:rPr>
                        <a:t>Survey 3</a:t>
                      </a:r>
                      <a:endParaRPr sz="1600" dirty="0">
                        <a:solidFill>
                          <a:srgbClr val="434343"/>
                        </a:solidFill>
                        <a:latin typeface="Open Sans SemiBold"/>
                        <a:ea typeface="Open Sans SemiBold"/>
                        <a:cs typeface="Open Sans SemiBold"/>
                        <a:sym typeface="Open Sans SemiBold"/>
                      </a:endParaRPr>
                    </a:p>
                  </a:txBody>
                  <a:tcPr marL="91467" marR="91467" marT="45733" marB="45733"/>
                </a:tc>
                <a:tc>
                  <a:txBody>
                    <a:bodyPr/>
                    <a:lstStyle/>
                    <a:p>
                      <a:pPr marL="0" marR="0" lvl="0" indent="0" algn="l" rtl="0">
                        <a:lnSpc>
                          <a:spcPct val="100000"/>
                        </a:lnSpc>
                        <a:spcBef>
                          <a:spcPts val="0"/>
                        </a:spcBef>
                        <a:spcAft>
                          <a:spcPts val="0"/>
                        </a:spcAft>
                        <a:buNone/>
                      </a:pPr>
                      <a:r>
                        <a:rPr lang="en" sz="1600">
                          <a:solidFill>
                            <a:srgbClr val="434343"/>
                          </a:solidFill>
                          <a:latin typeface="Open Sans SemiBold"/>
                          <a:ea typeface="Open Sans SemiBold"/>
                          <a:cs typeface="Open Sans SemiBold"/>
                          <a:sym typeface="Open Sans SemiBold"/>
                        </a:rPr>
                        <a:t>Trend</a:t>
                      </a:r>
                      <a:endParaRPr sz="1600">
                        <a:solidFill>
                          <a:srgbClr val="434343"/>
                        </a:solidFill>
                        <a:latin typeface="Open Sans SemiBold"/>
                        <a:ea typeface="Open Sans SemiBold"/>
                        <a:cs typeface="Open Sans SemiBold"/>
                        <a:sym typeface="Open Sans SemiBold"/>
                      </a:endParaRPr>
                    </a:p>
                  </a:txBody>
                  <a:tcPr marL="91467" marR="91467" marT="45733" marB="45733"/>
                </a:tc>
                <a:extLst>
                  <a:ext uri="{0D108BD9-81ED-4DB2-BD59-A6C34878D82A}">
                    <a16:rowId xmlns:a16="http://schemas.microsoft.com/office/drawing/2014/main" val="10000"/>
                  </a:ext>
                </a:extLst>
              </a:tr>
              <a:tr h="335307">
                <a:tc>
                  <a:txBody>
                    <a:bodyPr/>
                    <a:lstStyle/>
                    <a:p>
                      <a:pPr marL="0" marR="0" lvl="0" indent="0" algn="l" rtl="0">
                        <a:spcBef>
                          <a:spcPts val="0"/>
                        </a:spcBef>
                        <a:spcAft>
                          <a:spcPts val="0"/>
                        </a:spcAft>
                        <a:buNone/>
                      </a:pPr>
                      <a:r>
                        <a:rPr lang="en" sz="1600">
                          <a:latin typeface="Open Sans Light"/>
                          <a:ea typeface="Open Sans Light"/>
                          <a:cs typeface="Open Sans Light"/>
                          <a:sym typeface="Open Sans Light"/>
                        </a:rPr>
                        <a:t>Personal</a:t>
                      </a:r>
                      <a:r>
                        <a:rPr lang="en" sz="1600" u="none" strike="noStrike" cap="none">
                          <a:latin typeface="Open Sans Light"/>
                          <a:ea typeface="Open Sans Light"/>
                          <a:cs typeface="Open Sans Light"/>
                          <a:sym typeface="Open Sans Light"/>
                        </a:rPr>
                        <a:t> risk perception</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33%</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34</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b="0" dirty="0"/>
                        <a:t>↑</a:t>
                      </a:r>
                      <a:r>
                        <a:rPr lang="en" sz="1500" b="0" dirty="0">
                          <a:latin typeface="Open Sans Light"/>
                          <a:ea typeface="Open Sans Light"/>
                          <a:cs typeface="Open Sans Light"/>
                          <a:sym typeface="Open Sans Light"/>
                        </a:rPr>
                        <a:t> 1% </a:t>
                      </a:r>
                      <a:endParaRPr sz="1500" b="0" u="none" strike="noStrike" cap="none"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1"/>
                  </a:ext>
                </a:extLst>
              </a:tr>
              <a:tr h="335307">
                <a:tc>
                  <a:txBody>
                    <a:bodyPr/>
                    <a:lstStyle/>
                    <a:p>
                      <a:pPr marL="0" marR="0" lvl="0" indent="0" algn="l" rtl="0">
                        <a:spcBef>
                          <a:spcPts val="0"/>
                        </a:spcBef>
                        <a:spcAft>
                          <a:spcPts val="0"/>
                        </a:spcAft>
                        <a:buNone/>
                      </a:pPr>
                      <a:r>
                        <a:rPr lang="en" sz="1600" u="none" strike="noStrike" cap="none">
                          <a:latin typeface="Open Sans Light"/>
                          <a:ea typeface="Open Sans Light"/>
                          <a:cs typeface="Open Sans Light"/>
                          <a:sym typeface="Open Sans Light"/>
                        </a:rPr>
                        <a:t>Support for staying home</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69%*</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60%</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None/>
                      </a:pPr>
                      <a:r>
                        <a:rPr lang="en-US" sz="1500" b="1" dirty="0"/>
                        <a:t>↓</a:t>
                      </a:r>
                      <a:r>
                        <a:rPr lang="en" sz="1500" b="1" dirty="0">
                          <a:latin typeface="Open Sans Light"/>
                          <a:ea typeface="Open Sans Light"/>
                          <a:cs typeface="Open Sans Light"/>
                          <a:sym typeface="Open Sans Light"/>
                        </a:rPr>
                        <a:t> 9% </a:t>
                      </a:r>
                      <a:endParaRPr sz="1500" b="1" u="none" strike="noStrike" cap="none"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2"/>
                  </a:ext>
                </a:extLst>
              </a:tr>
              <a:tr h="335307">
                <a:tc>
                  <a:txBody>
                    <a:bodyPr/>
                    <a:lstStyle/>
                    <a:p>
                      <a:pPr marL="0" marR="0" lvl="0" indent="0" algn="l" rtl="0">
                        <a:spcBef>
                          <a:spcPts val="0"/>
                        </a:spcBef>
                        <a:spcAft>
                          <a:spcPts val="0"/>
                        </a:spcAft>
                        <a:buNone/>
                      </a:pPr>
                      <a:r>
                        <a:rPr lang="en" sz="1600" u="none" strike="noStrike" cap="none">
                          <a:latin typeface="Open Sans Light"/>
                          <a:ea typeface="Open Sans Light"/>
                          <a:cs typeface="Open Sans Light"/>
                          <a:sym typeface="Open Sans Light"/>
                        </a:rPr>
                        <a:t>Government satisfaction</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69%</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dirty="0">
                          <a:latin typeface="Open Sans Light"/>
                          <a:ea typeface="Open Sans Light"/>
                          <a:cs typeface="Open Sans Light"/>
                          <a:sym typeface="Open Sans Light"/>
                        </a:rPr>
                        <a:t>73</a:t>
                      </a:r>
                      <a:r>
                        <a:rPr lang="en" sz="1500" u="none" strike="noStrike" cap="none" dirty="0">
                          <a:latin typeface="Open Sans Light"/>
                          <a:ea typeface="Open Sans Light"/>
                          <a:cs typeface="Open Sans Light"/>
                          <a:sym typeface="Open Sans Light"/>
                        </a:rPr>
                        <a:t>%</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Clr>
                          <a:schemeClr val="dk1"/>
                        </a:buClr>
                        <a:buSzPts val="1100"/>
                        <a:buFont typeface="Arial"/>
                        <a:buNone/>
                      </a:pPr>
                      <a:r>
                        <a:rPr lang="en-US" sz="1500" dirty="0"/>
                        <a:t>↑</a:t>
                      </a:r>
                      <a:r>
                        <a:rPr lang="en" sz="1500" dirty="0">
                          <a:latin typeface="Open Sans Light"/>
                          <a:ea typeface="Open Sans Light"/>
                          <a:cs typeface="Open Sans Light"/>
                          <a:sym typeface="Open Sans Light"/>
                        </a:rPr>
                        <a:t> 4% </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3"/>
                  </a:ext>
                </a:extLst>
              </a:tr>
              <a:tr h="335307">
                <a:tc>
                  <a:txBody>
                    <a:bodyPr/>
                    <a:lstStyle/>
                    <a:p>
                      <a:pPr marL="0" marR="0" lvl="0" indent="0" algn="l" rtl="0">
                        <a:spcBef>
                          <a:spcPts val="0"/>
                        </a:spcBef>
                        <a:spcAft>
                          <a:spcPts val="0"/>
                        </a:spcAft>
                        <a:buNone/>
                      </a:pPr>
                      <a:r>
                        <a:rPr lang="en" sz="1600" u="none" strike="noStrike" cap="none">
                          <a:latin typeface="Open Sans Light"/>
                          <a:ea typeface="Open Sans Light"/>
                          <a:cs typeface="Open Sans Light"/>
                          <a:sym typeface="Open Sans Light"/>
                        </a:rPr>
                        <a:t>Income loss</a:t>
                      </a:r>
                      <a:endParaRPr sz="1500">
                        <a:latin typeface="Open Sans Light"/>
                        <a:ea typeface="Open Sans Light"/>
                        <a:cs typeface="Open Sans Light"/>
                        <a:sym typeface="Open Sans Light"/>
                      </a:endParaRPr>
                    </a:p>
                  </a:txBody>
                  <a:tcPr marL="91467" marR="91467" marT="45733" marB="45733"/>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81%</a:t>
                      </a:r>
                      <a:endParaRPr sz="1500" dirty="0">
                        <a:latin typeface="Open Sans Light"/>
                        <a:ea typeface="Open Sans Light"/>
                        <a:cs typeface="Open Sans Light"/>
                        <a:sym typeface="Open Sans Light"/>
                      </a:endParaRPr>
                    </a:p>
                  </a:txBody>
                  <a:tcPr marL="91467" marR="91467" marT="45733" marB="45733" anchor="ctr"/>
                </a:tc>
                <a:tc>
                  <a:txBody>
                    <a:bodyPr/>
                    <a:lstStyle/>
                    <a:p>
                      <a:pPr marL="0" marR="0" lvl="0" indent="0" algn="l" rtl="0">
                        <a:spcBef>
                          <a:spcPts val="0"/>
                        </a:spcBef>
                        <a:spcAft>
                          <a:spcPts val="0"/>
                        </a:spcAft>
                        <a:buNone/>
                      </a:pPr>
                      <a:r>
                        <a:rPr lang="en" sz="1500" u="none" strike="noStrike" cap="none" dirty="0">
                          <a:latin typeface="Open Sans Light"/>
                          <a:ea typeface="Open Sans Light"/>
                          <a:cs typeface="Open Sans Light"/>
                          <a:sym typeface="Open Sans Light"/>
                        </a:rPr>
                        <a:t>78%</a:t>
                      </a:r>
                      <a:endParaRPr sz="1500" dirty="0">
                        <a:latin typeface="Open Sans Light"/>
                        <a:ea typeface="Open Sans Light"/>
                        <a:cs typeface="Open Sans Light"/>
                        <a:sym typeface="Open Sans Light"/>
                      </a:endParaRPr>
                    </a:p>
                  </a:txBody>
                  <a:tcPr marL="91467" marR="91467" marT="45733" marB="45733" anchor="ctr"/>
                </a:tc>
                <a:tc>
                  <a:txBody>
                    <a:bodyPr/>
                    <a:lstStyle/>
                    <a:p>
                      <a:pPr marL="0" lvl="0" indent="0" algn="l" rtl="0">
                        <a:spcBef>
                          <a:spcPts val="0"/>
                        </a:spcBef>
                        <a:spcAft>
                          <a:spcPts val="0"/>
                        </a:spcAft>
                        <a:buClr>
                          <a:schemeClr val="dk1"/>
                        </a:buClr>
                        <a:buSzPts val="1100"/>
                        <a:buFont typeface="Arial"/>
                        <a:buNone/>
                      </a:pPr>
                      <a:r>
                        <a:rPr lang="en-US" sz="1500" b="0" dirty="0"/>
                        <a:t>↑ </a:t>
                      </a:r>
                      <a:r>
                        <a:rPr lang="en" sz="1500" dirty="0">
                          <a:latin typeface="Open Sans Light"/>
                          <a:ea typeface="Open Sans Light"/>
                          <a:cs typeface="Open Sans Light"/>
                          <a:sym typeface="Open Sans Light"/>
                        </a:rPr>
                        <a:t>3% </a:t>
                      </a:r>
                      <a:endParaRPr sz="1500" dirty="0">
                        <a:latin typeface="Open Sans Light"/>
                        <a:ea typeface="Open Sans Light"/>
                        <a:cs typeface="Open Sans Light"/>
                        <a:sym typeface="Open Sans Light"/>
                      </a:endParaRPr>
                    </a:p>
                  </a:txBody>
                  <a:tcPr marL="91467" marR="91467" marT="45733" marB="45733" anchor="ctr"/>
                </a:tc>
                <a:extLst>
                  <a:ext uri="{0D108BD9-81ED-4DB2-BD59-A6C34878D82A}">
                    <a16:rowId xmlns:a16="http://schemas.microsoft.com/office/drawing/2014/main" val="10004"/>
                  </a:ext>
                </a:extLst>
              </a:tr>
            </a:tbl>
          </a:graphicData>
        </a:graphic>
      </p:graphicFrame>
      <p:grpSp>
        <p:nvGrpSpPr>
          <p:cNvPr id="82" name="Google Shape;82;p15"/>
          <p:cNvGrpSpPr/>
          <p:nvPr/>
        </p:nvGrpSpPr>
        <p:grpSpPr>
          <a:xfrm>
            <a:off x="5300416" y="3279720"/>
            <a:ext cx="969795" cy="3072809"/>
            <a:chOff x="-1753566" y="1668042"/>
            <a:chExt cx="4251000" cy="3497658"/>
          </a:xfrm>
        </p:grpSpPr>
        <p:sp>
          <p:nvSpPr>
            <p:cNvPr id="83" name="Google Shape;83;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84" name="Google Shape;84;p15"/>
            <p:cNvSpPr txBox="1"/>
            <p:nvPr/>
          </p:nvSpPr>
          <p:spPr>
            <a:xfrm>
              <a:off x="-1753566" y="1668042"/>
              <a:ext cx="42510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2</a:t>
              </a:r>
              <a:endParaRPr sz="1067"/>
            </a:p>
          </p:txBody>
        </p:sp>
      </p:grpSp>
      <p:sp>
        <p:nvSpPr>
          <p:cNvPr id="85" name="Google Shape;85;p15"/>
          <p:cNvSpPr txBox="1"/>
          <p:nvPr/>
        </p:nvSpPr>
        <p:spPr>
          <a:xfrm>
            <a:off x="1058076" y="2465951"/>
            <a:ext cx="10758800" cy="443249"/>
          </a:xfrm>
          <a:prstGeom prst="rect">
            <a:avLst/>
          </a:prstGeom>
          <a:noFill/>
          <a:ln>
            <a:noFill/>
          </a:ln>
        </p:spPr>
        <p:txBody>
          <a:bodyPr spcFirstLastPara="1" wrap="square" lIns="91433" tIns="91433" rIns="91433" bIns="91433" anchor="t" anchorCtr="0">
            <a:spAutoFit/>
          </a:bodyPr>
          <a:lstStyle/>
          <a:p>
            <a:pPr>
              <a:lnSpc>
                <a:spcPct val="90000"/>
              </a:lnSpc>
            </a:pPr>
            <a:r>
              <a:rPr lang="en" sz="1867" dirty="0">
                <a:solidFill>
                  <a:srgbClr val="005E72"/>
                </a:solidFill>
                <a:latin typeface="Open Sans SemiBold"/>
                <a:ea typeface="Open Sans SemiBold"/>
                <a:cs typeface="Open Sans SemiBold"/>
                <a:sym typeface="Open Sans SemiBold"/>
              </a:rPr>
              <a:t>Disease dynamics with indicators for tightening measures (▲) and loosening measures (▼)</a:t>
            </a:r>
            <a:endParaRPr sz="1867" dirty="0">
              <a:solidFill>
                <a:srgbClr val="005E72"/>
              </a:solidFill>
              <a:latin typeface="Open Sans SemiBold"/>
              <a:ea typeface="Open Sans SemiBold"/>
              <a:cs typeface="Open Sans SemiBold"/>
              <a:sym typeface="Open Sans SemiBold"/>
            </a:endParaRPr>
          </a:p>
        </p:txBody>
      </p:sp>
      <p:cxnSp>
        <p:nvCxnSpPr>
          <p:cNvPr id="86" name="Google Shape;86;p15"/>
          <p:cNvCxnSpPr/>
          <p:nvPr/>
        </p:nvCxnSpPr>
        <p:spPr>
          <a:xfrm>
            <a:off x="771325" y="2813008"/>
            <a:ext cx="10758800" cy="8000"/>
          </a:xfrm>
          <a:prstGeom prst="straightConnector1">
            <a:avLst/>
          </a:prstGeom>
          <a:noFill/>
          <a:ln w="9525" cap="flat" cmpd="sng">
            <a:solidFill>
              <a:srgbClr val="005E72"/>
            </a:solidFill>
            <a:prstDash val="solid"/>
            <a:round/>
            <a:headEnd type="none" w="med" len="med"/>
            <a:tailEnd type="none" w="med" len="med"/>
          </a:ln>
        </p:spPr>
      </p:cxnSp>
      <p:grpSp>
        <p:nvGrpSpPr>
          <p:cNvPr id="89" name="Google Shape;89;p15"/>
          <p:cNvGrpSpPr/>
          <p:nvPr/>
        </p:nvGrpSpPr>
        <p:grpSpPr>
          <a:xfrm>
            <a:off x="9593104" y="3290377"/>
            <a:ext cx="969795" cy="3072805"/>
            <a:chOff x="-1644277" y="1668047"/>
            <a:chExt cx="4251000" cy="3497653"/>
          </a:xfrm>
        </p:grpSpPr>
        <p:sp>
          <p:nvSpPr>
            <p:cNvPr id="90" name="Google Shape;90;p15"/>
            <p:cNvSpPr txBox="1"/>
            <p:nvPr/>
          </p:nvSpPr>
          <p:spPr>
            <a:xfrm>
              <a:off x="0" y="1692300"/>
              <a:ext cx="669300" cy="3473400"/>
            </a:xfrm>
            <a:prstGeom prst="rect">
              <a:avLst/>
            </a:prstGeom>
            <a:solidFill>
              <a:srgbClr val="005E72">
                <a:alpha val="12840"/>
              </a:srgbClr>
            </a:solidFill>
            <a:ln>
              <a:noFill/>
            </a:ln>
          </p:spPr>
          <p:txBody>
            <a:bodyPr spcFirstLastPara="1" wrap="square" lIns="91433" tIns="45700" rIns="91433" bIns="45700" anchor="ctr" anchorCtr="0">
              <a:noAutofit/>
            </a:bodyPr>
            <a:lstStyle/>
            <a:p>
              <a:pPr algn="ctr"/>
              <a:endParaRPr sz="1467"/>
            </a:p>
          </p:txBody>
        </p:sp>
        <p:sp>
          <p:nvSpPr>
            <p:cNvPr id="91" name="Google Shape;91;p15"/>
            <p:cNvSpPr txBox="1"/>
            <p:nvPr/>
          </p:nvSpPr>
          <p:spPr>
            <a:xfrm>
              <a:off x="-1644277" y="1668047"/>
              <a:ext cx="4251000" cy="397098"/>
            </a:xfrm>
            <a:prstGeom prst="rect">
              <a:avLst/>
            </a:prstGeom>
            <a:noFill/>
            <a:ln>
              <a:noFill/>
            </a:ln>
          </p:spPr>
          <p:txBody>
            <a:bodyPr spcFirstLastPara="1" wrap="square" lIns="91433" tIns="91433" rIns="91433" bIns="91433" anchor="t" anchorCtr="0">
              <a:spAutoFit/>
            </a:bodyPr>
            <a:lstStyle/>
            <a:p>
              <a:pPr algn="ctr"/>
              <a:r>
                <a:rPr lang="en" sz="1067" b="1">
                  <a:solidFill>
                    <a:schemeClr val="dk2"/>
                  </a:solidFill>
                  <a:latin typeface="Open Sans"/>
                  <a:ea typeface="Open Sans"/>
                  <a:cs typeface="Open Sans"/>
                  <a:sym typeface="Open Sans"/>
                </a:rPr>
                <a:t>Survey 3</a:t>
              </a:r>
              <a:endParaRPr sz="1067"/>
            </a:p>
          </p:txBody>
        </p:sp>
      </p:grpSp>
      <p:sp>
        <p:nvSpPr>
          <p:cNvPr id="15" name="Title 1">
            <a:extLst>
              <a:ext uri="{FF2B5EF4-FFF2-40B4-BE49-F238E27FC236}">
                <a16:creationId xmlns:a16="http://schemas.microsoft.com/office/drawing/2014/main" id="{774E8A20-9AA6-4547-B657-0FC515ABAFA6}"/>
              </a:ext>
            </a:extLst>
          </p:cNvPr>
          <p:cNvSpPr>
            <a:spLocks noGrp="1"/>
          </p:cNvSpPr>
          <p:nvPr>
            <p:ph type="title"/>
          </p:nvPr>
        </p:nvSpPr>
        <p:spPr>
          <a:xfrm>
            <a:off x="534881" y="736325"/>
            <a:ext cx="4472017" cy="1325563"/>
          </a:xfrm>
        </p:spPr>
        <p:txBody>
          <a:bodyPr>
            <a:normAutofit/>
          </a:bodyPr>
          <a:lstStyle/>
          <a:p>
            <a:r>
              <a:rPr lang="en-US" sz="4000" dirty="0"/>
              <a:t>Survey Trend Highlights</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9E3720C-7123-46AC-BE5C-47F362231A9F}"/>
              </a:ext>
            </a:extLst>
          </p:cNvPr>
          <p:cNvSpPr/>
          <p:nvPr/>
        </p:nvSpPr>
        <p:spPr>
          <a:xfrm>
            <a:off x="0" y="1714500"/>
            <a:ext cx="12192000" cy="21971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Title 1">
            <a:extLst>
              <a:ext uri="{FF2B5EF4-FFF2-40B4-BE49-F238E27FC236}">
                <a16:creationId xmlns:a16="http://schemas.microsoft.com/office/drawing/2014/main" id="{D43E2F1F-BE6F-48CB-A0ED-00292BE0AFEE}"/>
              </a:ext>
            </a:extLst>
          </p:cNvPr>
          <p:cNvSpPr txBox="1">
            <a:spLocks/>
          </p:cNvSpPr>
          <p:nvPr/>
        </p:nvSpPr>
        <p:spPr>
          <a:xfrm>
            <a:off x="662672" y="2163603"/>
            <a:ext cx="9459228" cy="1004465"/>
          </a:xfrm>
          <a:prstGeom prst="rect">
            <a:avLst/>
          </a:prstGeom>
        </p:spPr>
        <p:txBody>
          <a:bodyPr/>
          <a:lstStyle>
            <a:defPPr>
              <a:defRPr lang="fr-FR"/>
            </a:defPPr>
            <a:lvl1pPr algn="ctr">
              <a:lnSpc>
                <a:spcPct val="90000"/>
              </a:lnSpc>
              <a:spcBef>
                <a:spcPct val="0"/>
              </a:spcBef>
              <a:buNone/>
              <a:defRPr sz="2600" b="1" cap="none" spc="0" baseline="0">
                <a:solidFill>
                  <a:srgbClr val="019D9C"/>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sz="4400" dirty="0">
                <a:solidFill>
                  <a:srgbClr val="F4A62D"/>
                </a:solidFill>
                <a:latin typeface="HK Grotesk Black" panose="00000A00000000000000" pitchFamily="2" charset="0"/>
              </a:rPr>
              <a:t>Disease Dynamics and PHSM implementation</a:t>
            </a:r>
            <a:endParaRPr kumimoji="0" lang="en-US" sz="4400" b="1" i="0" u="none" strike="noStrike" kern="1200" cap="none" spc="-30" normalizeH="0" baseline="0" noProof="0" dirty="0">
              <a:ln>
                <a:noFill/>
              </a:ln>
              <a:solidFill>
                <a:srgbClr val="F4A62D"/>
              </a:solidFill>
              <a:effectLst/>
              <a:uLnTx/>
              <a:uFillTx/>
              <a:latin typeface="HK Grotesk Black" panose="00000A00000000000000" pitchFamily="2" charset="0"/>
            </a:endParaRPr>
          </a:p>
        </p:txBody>
      </p:sp>
      <p:sp>
        <p:nvSpPr>
          <p:cNvPr id="14" name="Rectangle 13">
            <a:extLst>
              <a:ext uri="{FF2B5EF4-FFF2-40B4-BE49-F238E27FC236}">
                <a16:creationId xmlns:a16="http://schemas.microsoft.com/office/drawing/2014/main" id="{3F274A8B-FA0C-471D-8EC0-23D6C4CA9343}"/>
              </a:ext>
            </a:extLst>
          </p:cNvPr>
          <p:cNvSpPr/>
          <p:nvPr/>
        </p:nvSpPr>
        <p:spPr>
          <a:xfrm>
            <a:off x="777647" y="6426278"/>
            <a:ext cx="2244440" cy="397288"/>
          </a:xfrm>
          <a:prstGeom prst="rect">
            <a:avLst/>
          </a:prstGeom>
        </p:spPr>
        <p:txBody>
          <a:bodyPr wrap="square">
            <a:spAutoFit/>
          </a:bodyPr>
          <a:lstStyle/>
          <a:p>
            <a:pPr marL="0" marR="0" lvl="0" indent="0" algn="l" defTabSz="914400" rtl="0" eaLnBrk="1" fontAlgn="auto" latinLnBrk="0" hangingPunct="1">
              <a:lnSpc>
                <a:spcPct val="115000"/>
              </a:lnSpc>
              <a:spcBef>
                <a:spcPts val="0"/>
              </a:spcBef>
              <a:spcAft>
                <a:spcPts val="0"/>
              </a:spcAft>
              <a:buClrTx/>
              <a:buSzTx/>
              <a:buFontTx/>
              <a:buNone/>
              <a:tabLst/>
              <a:defRPr/>
            </a:pPr>
            <a:r>
              <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Calibri" panose="020F0502020204030204" pitchFamily="34" charset="0"/>
                <a:cs typeface="+mn-cs"/>
              </a:rPr>
              <a:t>Partnership for Evidence-based Response to COVID-19</a:t>
            </a:r>
            <a:endParaRPr kumimoji="0" lang="en-US" sz="900" b="0" i="0" u="none" strike="noStrike" kern="1200" cap="none" spc="0" normalizeH="0" baseline="0" noProof="0" dirty="0">
              <a:ln>
                <a:noFill/>
              </a:ln>
              <a:solidFill>
                <a:prstClr val="white"/>
              </a:solidFill>
              <a:effectLst/>
              <a:uLnTx/>
              <a:uFillTx/>
              <a:latin typeface="GT America" panose="00000500000000000000" pitchFamily="50" charset="0"/>
              <a:ea typeface="Arial" panose="020B0604020202020204" pitchFamily="34" charset="0"/>
              <a:cs typeface="+mn-cs"/>
            </a:endParaRPr>
          </a:p>
        </p:txBody>
      </p:sp>
      <p:cxnSp>
        <p:nvCxnSpPr>
          <p:cNvPr id="17" name="Straight Connector 16">
            <a:extLst>
              <a:ext uri="{FF2B5EF4-FFF2-40B4-BE49-F238E27FC236}">
                <a16:creationId xmlns:a16="http://schemas.microsoft.com/office/drawing/2014/main" id="{D0D33C4B-29CD-42F9-9829-4DA9B097108F}"/>
              </a:ext>
            </a:extLst>
          </p:cNvPr>
          <p:cNvCxnSpPr/>
          <p:nvPr/>
        </p:nvCxnSpPr>
        <p:spPr>
          <a:xfrm>
            <a:off x="777647" y="3468029"/>
            <a:ext cx="351971" cy="0"/>
          </a:xfrm>
          <a:prstGeom prst="line">
            <a:avLst/>
          </a:prstGeom>
          <a:ln w="63500" cap="rnd">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6" name="Picture 15">
            <a:extLst>
              <a:ext uri="{FF2B5EF4-FFF2-40B4-BE49-F238E27FC236}">
                <a16:creationId xmlns:a16="http://schemas.microsoft.com/office/drawing/2014/main" id="{663AF3EC-C2A5-4338-B9A8-4646EC2CDBFF}"/>
              </a:ext>
            </a:extLst>
          </p:cNvPr>
          <p:cNvPicPr>
            <a:picLocks noChangeAspect="1"/>
          </p:cNvPicPr>
          <p:nvPr/>
        </p:nvPicPr>
        <p:blipFill>
          <a:blip r:embed="rId3"/>
          <a:stretch>
            <a:fillRect/>
          </a:stretch>
        </p:blipFill>
        <p:spPr>
          <a:xfrm>
            <a:off x="-1" y="6313360"/>
            <a:ext cx="1710543" cy="397287"/>
          </a:xfrm>
          <a:prstGeom prst="rect">
            <a:avLst/>
          </a:prstGeom>
        </p:spPr>
      </p:pic>
    </p:spTree>
    <p:extLst>
      <p:ext uri="{BB962C8B-B14F-4D97-AF65-F5344CB8AC3E}">
        <p14:creationId xmlns:p14="http://schemas.microsoft.com/office/powerpoint/2010/main" val="17982728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B6FAAD-6872-4BB1-BBF3-9DDE7B1DD5D3}"/>
              </a:ext>
            </a:extLst>
          </p:cNvPr>
          <p:cNvSpPr>
            <a:spLocks noGrp="1"/>
          </p:cNvSpPr>
          <p:nvPr>
            <p:ph type="title"/>
          </p:nvPr>
        </p:nvSpPr>
        <p:spPr/>
        <p:txBody>
          <a:bodyPr>
            <a:normAutofit/>
          </a:bodyPr>
          <a:lstStyle/>
          <a:p>
            <a:r>
              <a:rPr lang="en-US" sz="4000" dirty="0">
                <a:latin typeface="GT America"/>
              </a:rPr>
              <a:t>Situational Awareness</a:t>
            </a:r>
          </a:p>
        </p:txBody>
      </p:sp>
      <p:sp>
        <p:nvSpPr>
          <p:cNvPr id="8" name="TextBox 7">
            <a:extLst>
              <a:ext uri="{FF2B5EF4-FFF2-40B4-BE49-F238E27FC236}">
                <a16:creationId xmlns:a16="http://schemas.microsoft.com/office/drawing/2014/main" id="{16485E12-9543-4A65-BBA8-3A7CFCB54D37}"/>
              </a:ext>
            </a:extLst>
          </p:cNvPr>
          <p:cNvSpPr txBox="1"/>
          <p:nvPr/>
        </p:nvSpPr>
        <p:spPr>
          <a:xfrm>
            <a:off x="264441" y="1409654"/>
            <a:ext cx="11512638" cy="745076"/>
          </a:xfrm>
          <a:prstGeom prst="rect">
            <a:avLst/>
          </a:prstGeom>
          <a:noFill/>
        </p:spPr>
        <p:txBody>
          <a:bodyPr wrap="square">
            <a:spAutoFit/>
          </a:bodyPr>
          <a:lstStyle/>
          <a:p>
            <a:pPr>
              <a:lnSpc>
                <a:spcPts val="2600"/>
              </a:lnSpc>
            </a:pPr>
            <a:r>
              <a:rPr lang="en-US" sz="1800" b="1" dirty="0">
                <a:latin typeface="HK Grotesk Black"/>
                <a:ea typeface="+mn-lt"/>
                <a:cs typeface="+mn-lt"/>
              </a:rPr>
              <a:t>New cases began to rise slightly in December 2020 after most restrictions put in place during the first wave were loosened. Infrequent reporting of data helps explain the variation in the epidemic curve below.</a:t>
            </a:r>
            <a:endParaRPr lang="en-US" dirty="0">
              <a:latin typeface="HK Grotesk Black"/>
              <a:ea typeface="+mn-lt"/>
              <a:cs typeface="+mn-lt"/>
            </a:endParaRPr>
          </a:p>
        </p:txBody>
      </p:sp>
      <p:pic>
        <p:nvPicPr>
          <p:cNvPr id="11" name="Picture 10">
            <a:extLst>
              <a:ext uri="{FF2B5EF4-FFF2-40B4-BE49-F238E27FC236}">
                <a16:creationId xmlns:a16="http://schemas.microsoft.com/office/drawing/2014/main" id="{35AEF846-193A-4A0F-8D79-6E8870236141}"/>
              </a:ext>
            </a:extLst>
          </p:cNvPr>
          <p:cNvPicPr>
            <a:picLocks noChangeAspect="1"/>
          </p:cNvPicPr>
          <p:nvPr/>
        </p:nvPicPr>
        <p:blipFill>
          <a:blip r:embed="rId3"/>
          <a:stretch>
            <a:fillRect/>
          </a:stretch>
        </p:blipFill>
        <p:spPr>
          <a:xfrm>
            <a:off x="-1" y="6313360"/>
            <a:ext cx="1710543" cy="397287"/>
          </a:xfrm>
          <a:prstGeom prst="rect">
            <a:avLst/>
          </a:prstGeom>
        </p:spPr>
      </p:pic>
      <p:pic>
        <p:nvPicPr>
          <p:cNvPr id="4" name="Picture 3">
            <a:extLst>
              <a:ext uri="{FF2B5EF4-FFF2-40B4-BE49-F238E27FC236}">
                <a16:creationId xmlns:a16="http://schemas.microsoft.com/office/drawing/2014/main" id="{CAA239E7-5DD3-4A5A-A5FF-7EA46D84A856}"/>
              </a:ext>
            </a:extLst>
          </p:cNvPr>
          <p:cNvPicPr>
            <a:picLocks noChangeAspect="1"/>
          </p:cNvPicPr>
          <p:nvPr/>
        </p:nvPicPr>
        <p:blipFill>
          <a:blip r:embed="rId4"/>
          <a:stretch>
            <a:fillRect/>
          </a:stretch>
        </p:blipFill>
        <p:spPr>
          <a:xfrm>
            <a:off x="264440" y="2817360"/>
            <a:ext cx="2689300" cy="2833370"/>
          </a:xfrm>
          <a:prstGeom prst="rect">
            <a:avLst/>
          </a:prstGeom>
        </p:spPr>
      </p:pic>
      <p:pic>
        <p:nvPicPr>
          <p:cNvPr id="7" name="Graphic 6">
            <a:extLst>
              <a:ext uri="{FF2B5EF4-FFF2-40B4-BE49-F238E27FC236}">
                <a16:creationId xmlns:a16="http://schemas.microsoft.com/office/drawing/2014/main" id="{E2279419-3966-456D-B234-F33A0D14264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21429" y="1822678"/>
            <a:ext cx="9361714" cy="5035321"/>
          </a:xfrm>
          <a:prstGeom prst="rect">
            <a:avLst/>
          </a:prstGeom>
        </p:spPr>
      </p:pic>
    </p:spTree>
    <p:extLst>
      <p:ext uri="{BB962C8B-B14F-4D97-AF65-F5344CB8AC3E}">
        <p14:creationId xmlns:p14="http://schemas.microsoft.com/office/powerpoint/2010/main" val="38588904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eJdUBLkF.ir74OQSEUMF9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bT52hb9WDlXLdt_Xkw2W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dN04oOJQ4MwSF7dCoBZh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IPSOS - Classical Template - 16x9">
  <a:themeElements>
    <a:clrScheme name="PERC">
      <a:dk1>
        <a:srgbClr val="005E72"/>
      </a:dk1>
      <a:lt1>
        <a:sysClr val="window" lastClr="FFFFFF"/>
      </a:lt1>
      <a:dk2>
        <a:srgbClr val="F4A62D"/>
      </a:dk2>
      <a:lt2>
        <a:srgbClr val="2C2C36"/>
      </a:lt2>
      <a:accent1>
        <a:srgbClr val="BA5C50"/>
      </a:accent1>
      <a:accent2>
        <a:srgbClr val="7D7D7D"/>
      </a:accent2>
      <a:accent3>
        <a:srgbClr val="F5C069"/>
      </a:accent3>
      <a:accent4>
        <a:srgbClr val="84329B"/>
      </a:accent4>
      <a:accent5>
        <a:srgbClr val="E4C7EC"/>
      </a:accent5>
      <a:accent6>
        <a:srgbClr val="BEDBFF"/>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728</TotalTime>
  <Words>2016</Words>
  <Application>Microsoft Office PowerPoint</Application>
  <PresentationFormat>Widescreen</PresentationFormat>
  <Paragraphs>156</Paragraphs>
  <Slides>22</Slides>
  <Notes>18</Notes>
  <HiddenSlides>0</HiddenSlides>
  <MMClips>0</MMClips>
  <ScaleCrop>false</ScaleCrop>
  <HeadingPairs>
    <vt:vector size="4" baseType="variant">
      <vt:variant>
        <vt:lpstr>Theme</vt:lpstr>
      </vt:variant>
      <vt:variant>
        <vt:i4>3</vt:i4>
      </vt:variant>
      <vt:variant>
        <vt:lpstr>Slide Titles</vt:lpstr>
      </vt:variant>
      <vt:variant>
        <vt:i4>22</vt:i4>
      </vt:variant>
    </vt:vector>
  </HeadingPairs>
  <TitlesOfParts>
    <vt:vector size="25" baseType="lpstr">
      <vt:lpstr>Office Theme</vt:lpstr>
      <vt:lpstr>1_Office Theme</vt:lpstr>
      <vt:lpstr>IPSOS - Classical Template - 16x9</vt:lpstr>
      <vt:lpstr>Finding the Balance:  Public Health and Social Measures in Liberia</vt:lpstr>
      <vt:lpstr>PERC Overview</vt:lpstr>
      <vt:lpstr>Table of Contents</vt:lpstr>
      <vt:lpstr>PowerPoint Presentation</vt:lpstr>
      <vt:lpstr>Highlights: February 2021 survey</vt:lpstr>
      <vt:lpstr>Highlights: August 2020 to February 2021 Trend</vt:lpstr>
      <vt:lpstr>Survey Trend Highlights</vt:lpstr>
      <vt:lpstr>PowerPoint Presentation</vt:lpstr>
      <vt:lpstr>Situational Awaren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ding the Balance:  Public Health and Social Measures in Uganda</dc:title>
  <dc:creator>Breanna van Loenen</dc:creator>
  <cp:lastModifiedBy>Breanna van Loenen</cp:lastModifiedBy>
  <cp:revision>100</cp:revision>
  <dcterms:created xsi:type="dcterms:W3CDTF">2021-03-03T19:18:52Z</dcterms:created>
  <dcterms:modified xsi:type="dcterms:W3CDTF">2021-03-24T15:05:24Z</dcterms:modified>
</cp:coreProperties>
</file>